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676" r:id="rId2"/>
    <p:sldMasterId id="2147483684" r:id="rId3"/>
    <p:sldMasterId id="2147483696" r:id="rId4"/>
  </p:sldMasterIdLst>
  <p:notesMasterIdLst>
    <p:notesMasterId r:id="rId10"/>
  </p:notesMasterIdLst>
  <p:sldIdLst>
    <p:sldId id="270" r:id="rId5"/>
    <p:sldId id="3158" r:id="rId6"/>
    <p:sldId id="3162" r:id="rId7"/>
    <p:sldId id="3163" r:id="rId8"/>
    <p:sldId id="3164" r:id="rId9"/>
  </p:sldIdLst>
  <p:sldSz cx="12192000" cy="6858000"/>
  <p:notesSz cx="6877050" cy="10001250"/>
  <p:custDataLst>
    <p:tags r:id="rId11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oorbeeld" id="{735F3F27-BA3F-4D84-BF33-3B51B5C7BD7A}">
          <p14:sldIdLst>
            <p14:sldId id="270"/>
          </p14:sldIdLst>
        </p14:section>
        <p14:section name="Format" id="{76B14171-6569-44EC-979A-45158683284D}">
          <p14:sldIdLst>
            <p14:sldId id="3158"/>
            <p14:sldId id="3162"/>
          </p14:sldIdLst>
        </p14:section>
        <p14:section name="Voorbeeldversie" id="{47855E73-19C6-41B3-B006-1E4AA7ADFC9F}">
          <p14:sldIdLst>
            <p14:sldId id="3163"/>
            <p14:sldId id="316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6E2F8"/>
    <a:srgbClr val="62C2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84225" autoAdjust="0"/>
  </p:normalViewPr>
  <p:slideViewPr>
    <p:cSldViewPr snapToGrid="0">
      <p:cViewPr varScale="1">
        <p:scale>
          <a:sx n="72" d="100"/>
          <a:sy n="72" d="100"/>
        </p:scale>
        <p:origin x="1056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0055" cy="501799"/>
          </a:xfrm>
          <a:prstGeom prst="rect">
            <a:avLst/>
          </a:prstGeom>
        </p:spPr>
        <p:txBody>
          <a:bodyPr vert="horz" lIns="96442" tIns="48221" rIns="96442" bIns="48221" rtlCol="0"/>
          <a:lstStyle>
            <a:lvl1pPr algn="l">
              <a:defRPr sz="1300"/>
            </a:lvl1pPr>
          </a:lstStyle>
          <a:p>
            <a:endParaRPr lang="nl-NL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95404" y="0"/>
            <a:ext cx="2980055" cy="501799"/>
          </a:xfrm>
          <a:prstGeom prst="rect">
            <a:avLst/>
          </a:prstGeom>
        </p:spPr>
        <p:txBody>
          <a:bodyPr vert="horz" lIns="96442" tIns="48221" rIns="96442" bIns="48221" rtlCol="0"/>
          <a:lstStyle>
            <a:lvl1pPr algn="r">
              <a:defRPr sz="1300"/>
            </a:lvl1pPr>
          </a:lstStyle>
          <a:p>
            <a:fld id="{431C4AA2-54BE-4DE4-9C32-106EA9AC0A72}" type="datetimeFigureOut">
              <a:rPr lang="nl-NL" smtClean="0"/>
              <a:t>17-5-2023</a:t>
            </a:fld>
            <a:endParaRPr lang="nl-NL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49363"/>
            <a:ext cx="6000750" cy="33766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442" tIns="48221" rIns="96442" bIns="48221" rtlCol="0" anchor="ctr"/>
          <a:lstStyle/>
          <a:p>
            <a:endParaRPr lang="nl-NL" dirty="0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7705" y="4813102"/>
            <a:ext cx="5501640" cy="3937992"/>
          </a:xfrm>
          <a:prstGeom prst="rect">
            <a:avLst/>
          </a:prstGeom>
        </p:spPr>
        <p:txBody>
          <a:bodyPr vert="horz" lIns="96442" tIns="48221" rIns="96442" bIns="48221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499452"/>
            <a:ext cx="2980055" cy="501798"/>
          </a:xfrm>
          <a:prstGeom prst="rect">
            <a:avLst/>
          </a:prstGeom>
        </p:spPr>
        <p:txBody>
          <a:bodyPr vert="horz" lIns="96442" tIns="48221" rIns="96442" bIns="48221" rtlCol="0" anchor="b"/>
          <a:lstStyle>
            <a:lvl1pPr algn="l">
              <a:defRPr sz="1300"/>
            </a:lvl1pPr>
          </a:lstStyle>
          <a:p>
            <a:endParaRPr lang="nl-NL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95404" y="9499452"/>
            <a:ext cx="2980055" cy="501798"/>
          </a:xfrm>
          <a:prstGeom prst="rect">
            <a:avLst/>
          </a:prstGeom>
        </p:spPr>
        <p:txBody>
          <a:bodyPr vert="horz" lIns="96442" tIns="48221" rIns="96442" bIns="48221" rtlCol="0" anchor="b"/>
          <a:lstStyle>
            <a:lvl1pPr algn="r">
              <a:defRPr sz="1300"/>
            </a:lvl1pPr>
          </a:lstStyle>
          <a:p>
            <a:fld id="{0E1424F3-58D2-402E-BC6B-E44836E7C377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389510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EF7264-8106-4311-8438-E47330995C77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47060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D89C72-8A28-438F-867A-9041D8FC1F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225675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D89C72-8A28-438F-867A-9041D8FC1F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3929406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D89C72-8A28-438F-867A-9041D8FC1F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380464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D89C72-8A28-438F-867A-9041D8FC1F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373286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84107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08624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with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04648" y="428295"/>
            <a:ext cx="11430000" cy="990601"/>
          </a:xfrm>
        </p:spPr>
        <p:txBody>
          <a:bodyPr>
            <a:noAutofit/>
          </a:bodyPr>
          <a:lstStyle>
            <a:lvl1pPr algn="r">
              <a:defRPr sz="8000"/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SLIDE</a:t>
            </a:r>
          </a:p>
        </p:txBody>
      </p:sp>
      <p:sp>
        <p:nvSpPr>
          <p:cNvPr id="6" name="AMC_Footer"/>
          <p:cNvSpPr txBox="1">
            <a:spLocks/>
          </p:cNvSpPr>
          <p:nvPr userDrawn="1"/>
        </p:nvSpPr>
        <p:spPr>
          <a:xfrm>
            <a:off x="381000" y="6508170"/>
            <a:ext cx="8253742" cy="227013"/>
          </a:xfrm>
          <a:prstGeom prst="rect">
            <a:avLst/>
          </a:prstGeom>
        </p:spPr>
        <p:txBody>
          <a:bodyPr lIns="0" tIns="47992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9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17 Accenture. All rights reserved. </a:t>
            </a:r>
          </a:p>
        </p:txBody>
      </p:sp>
      <p:sp>
        <p:nvSpPr>
          <p:cNvPr id="8" name="Inhaltsplatzhalter 13"/>
          <p:cNvSpPr txBox="1">
            <a:spLocks/>
          </p:cNvSpPr>
          <p:nvPr userDrawn="1"/>
        </p:nvSpPr>
        <p:spPr>
          <a:xfrm>
            <a:off x="11282152" y="6508170"/>
            <a:ext cx="528848" cy="227013"/>
          </a:xfrm>
          <a:prstGeom prst="rect">
            <a:avLst/>
          </a:prstGeom>
        </p:spPr>
        <p:txBody>
          <a:bodyPr lIns="0" tIns="47992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19628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with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80999" y="420413"/>
            <a:ext cx="11359055" cy="1793104"/>
          </a:xfrm>
        </p:spPr>
        <p:txBody>
          <a:bodyPr>
            <a:noAutofit/>
          </a:bodyPr>
          <a:lstStyle>
            <a:lvl1pPr algn="l">
              <a:defRPr sz="600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SLIDE</a:t>
            </a:r>
          </a:p>
        </p:txBody>
      </p:sp>
      <p:sp>
        <p:nvSpPr>
          <p:cNvPr id="8" name="AMC_Footer"/>
          <p:cNvSpPr txBox="1">
            <a:spLocks/>
          </p:cNvSpPr>
          <p:nvPr userDrawn="1"/>
        </p:nvSpPr>
        <p:spPr>
          <a:xfrm>
            <a:off x="381000" y="6508170"/>
            <a:ext cx="8253742" cy="227013"/>
          </a:xfrm>
          <a:prstGeom prst="rect">
            <a:avLst/>
          </a:prstGeom>
        </p:spPr>
        <p:txBody>
          <a:bodyPr lIns="0" tIns="47992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9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17 Accenture. All rights reserved. </a:t>
            </a:r>
          </a:p>
        </p:txBody>
      </p:sp>
      <p:sp>
        <p:nvSpPr>
          <p:cNvPr id="9" name="Inhaltsplatzhalter 13"/>
          <p:cNvSpPr txBox="1">
            <a:spLocks/>
          </p:cNvSpPr>
          <p:nvPr userDrawn="1"/>
        </p:nvSpPr>
        <p:spPr>
          <a:xfrm>
            <a:off x="11282152" y="6508170"/>
            <a:ext cx="528848" cy="227013"/>
          </a:xfrm>
          <a:prstGeom prst="rect">
            <a:avLst/>
          </a:prstGeom>
        </p:spPr>
        <p:txBody>
          <a:bodyPr lIns="0" tIns="47992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63622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ith foot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02173" y="1878722"/>
            <a:ext cx="11430000" cy="990601"/>
          </a:xfrm>
        </p:spPr>
        <p:txBody>
          <a:bodyPr>
            <a:noAutofit/>
          </a:bodyPr>
          <a:lstStyle>
            <a:lvl1pPr algn="l"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</a:t>
            </a:r>
            <a:br>
              <a:rPr lang="en-US" dirty="0"/>
            </a:br>
            <a:r>
              <a:rPr lang="en-US" dirty="0"/>
              <a:t>SLIDE</a:t>
            </a:r>
          </a:p>
        </p:txBody>
      </p:sp>
    </p:spTree>
    <p:extLst>
      <p:ext uri="{BB962C8B-B14F-4D97-AF65-F5344CB8AC3E}">
        <p14:creationId xmlns:p14="http://schemas.microsoft.com/office/powerpoint/2010/main" val="21561485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95232" y="380999"/>
            <a:ext cx="5783894" cy="1298714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8"/>
          </p:nvPr>
        </p:nvSpPr>
        <p:spPr>
          <a:xfrm>
            <a:off x="395232" y="1810013"/>
            <a:ext cx="5783894" cy="2980648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itle 10"/>
          <p:cNvSpPr txBox="1">
            <a:spLocks/>
          </p:cNvSpPr>
          <p:nvPr userDrawn="1"/>
        </p:nvSpPr>
        <p:spPr>
          <a:xfrm>
            <a:off x="395232" y="4959625"/>
            <a:ext cx="5783894" cy="1401417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4000" b="0" kern="1200" cap="all" spc="-1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47498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G | Footer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F73694-2F0A-6047-95EA-1282BFCC7D6C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56183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Vertical Title and Text">
    <p:bg>
      <p:bgPr>
        <a:solidFill>
          <a:schemeClr val="bg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357916" y="2207019"/>
            <a:ext cx="11476168" cy="111760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5333" b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LICK TO EDIT MASTER TEXT</a:t>
            </a:r>
            <a:endParaRPr lang="en-US" dirty="0"/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3484062" y="3332989"/>
            <a:ext cx="5223877" cy="34648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67" b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3822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848490" y="6204937"/>
            <a:ext cx="1807117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15038B-A33A-449D-B909-AD5BF17F79AA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50933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385">
          <p15:clr>
            <a:srgbClr val="FBAE40"/>
          </p15:clr>
        </p15:guide>
        <p15:guide id="4" pos="5375">
          <p15:clr>
            <a:srgbClr val="FBAE40"/>
          </p15:clr>
        </p15:guide>
        <p15:guide id="5" orient="horz" pos="509">
          <p15:clr>
            <a:srgbClr val="FBAE40"/>
          </p15:clr>
        </p15:guide>
        <p15:guide id="6" orient="horz" pos="291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838201" y="366186"/>
            <a:ext cx="4801839" cy="684509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838199" y="1388729"/>
            <a:ext cx="4801839" cy="5155371"/>
          </a:xfrm>
          <a:prstGeom prst="rect">
            <a:avLst/>
          </a:prstGeom>
        </p:spPr>
        <p:txBody>
          <a:bodyPr vert="horz" lIns="121920" tIns="60960" rIns="121920" bIns="6096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endParaRPr lang="en-GB" sz="240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848490" y="6204937"/>
            <a:ext cx="1807117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15038B-A33A-449D-B909-AD5BF17F79AA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4256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509">
          <p15:clr>
            <a:srgbClr val="FBAE40"/>
          </p15:clr>
        </p15:guide>
        <p15:guide id="4" orient="horz" pos="2913">
          <p15:clr>
            <a:srgbClr val="FBAE40"/>
          </p15:clr>
        </p15:guide>
        <p15:guide id="5" pos="5375">
          <p15:clr>
            <a:srgbClr val="FBAE40"/>
          </p15:clr>
        </p15:guide>
        <p15:guide id="6" pos="38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http://payload216.cargocollective.com/1/2/71522/6633696/matthew_gamber_blank_chalkboards_06_905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29" r="49903"/>
          <a:stretch/>
        </p:blipFill>
        <p:spPr bwMode="auto">
          <a:xfrm>
            <a:off x="-13162" y="0"/>
            <a:ext cx="61190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7961" y="366186"/>
            <a:ext cx="4669123" cy="684509"/>
          </a:xfrm>
        </p:spPr>
        <p:txBody>
          <a:bodyPr/>
          <a:lstStyle/>
          <a:p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6707961" y="1388729"/>
            <a:ext cx="4620440" cy="5155371"/>
          </a:xfrm>
          <a:prstGeom prst="rect">
            <a:avLst/>
          </a:prstGeom>
        </p:spPr>
        <p:txBody>
          <a:bodyPr vert="horz" lIns="121920" tIns="60960" rIns="121920" bIns="6096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239178" indent="-239178">
              <a:buFont typeface="Arial" panose="020B0604020202020204" pitchFamily="34" charset="0"/>
              <a:buChar char="•"/>
            </a:pPr>
            <a:r>
              <a:rPr lang="en-US" sz="2400" dirty="0"/>
              <a:t>Text</a:t>
            </a:r>
            <a:endParaRPr lang="en-GB" sz="240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848490" y="6204937"/>
            <a:ext cx="1807117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15038B-A33A-449D-B909-AD5BF17F79AA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66018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385">
          <p15:clr>
            <a:srgbClr val="FBAE40"/>
          </p15:clr>
        </p15:guide>
        <p15:guide id="3" pos="5375">
          <p15:clr>
            <a:srgbClr val="FBAE40"/>
          </p15:clr>
        </p15:guide>
        <p15:guide id="4" orient="horz" pos="509">
          <p15:clr>
            <a:srgbClr val="FBAE40"/>
          </p15:clr>
        </p15:guide>
        <p15:guide id="5" orient="horz" pos="2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77054"/>
          </a:xfrm>
        </p:spPr>
        <p:txBody>
          <a:bodyPr>
            <a:spAutoFit/>
          </a:bodyPr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2" hasCustomPrompt="1"/>
          </p:nvPr>
        </p:nvSpPr>
        <p:spPr>
          <a:xfrm>
            <a:off x="380999" y="858053"/>
            <a:ext cx="11374819" cy="631788"/>
          </a:xfrm>
        </p:spPr>
        <p:txBody>
          <a:bodyPr/>
          <a:lstStyle>
            <a:lvl1pPr>
              <a:defRPr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9310479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1" y="366186"/>
            <a:ext cx="4801839" cy="684509"/>
          </a:xfrm>
        </p:spPr>
        <p:txBody>
          <a:bodyPr/>
          <a:lstStyle/>
          <a:p>
            <a:r>
              <a:rPr lang="en-US" dirty="0"/>
              <a:t>Master title style</a:t>
            </a:r>
            <a:endParaRPr lang="en-GB" dirty="0"/>
          </a:p>
        </p:txBody>
      </p:sp>
      <p:pic>
        <p:nvPicPr>
          <p:cNvPr id="4" name="Picture 2" descr="http://payload216.cargocollective.com/1/2/71522/6633696/matthew_gamber_blank_chalkboards_06_905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178" t="1229"/>
          <a:stretch/>
        </p:blipFill>
        <p:spPr bwMode="auto">
          <a:xfrm>
            <a:off x="6115825" y="0"/>
            <a:ext cx="608544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848490" y="6204937"/>
            <a:ext cx="1807117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15038B-A33A-449D-B909-AD5BF17F79AA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74329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385">
          <p15:clr>
            <a:srgbClr val="FBAE40"/>
          </p15:clr>
        </p15:guide>
        <p15:guide id="3" pos="5375">
          <p15:clr>
            <a:srgbClr val="FBAE40"/>
          </p15:clr>
        </p15:guide>
        <p15:guide id="4" orient="horz" pos="509">
          <p15:clr>
            <a:srgbClr val="FBAE40"/>
          </p15:clr>
        </p15:guide>
        <p15:guide id="5" orient="horz" pos="291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http://payload216.cargocollective.com/1/2/71522/6633696/matthew_gamber_blank_chalkboards_06_905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t="1229" r="77"/>
          <a:stretch/>
        </p:blipFill>
        <p:spPr bwMode="auto">
          <a:xfrm>
            <a:off x="-13162" y="0"/>
            <a:ext cx="1220516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72143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385">
          <p15:clr>
            <a:srgbClr val="FBAE40"/>
          </p15:clr>
        </p15:guide>
        <p15:guide id="3" pos="5375">
          <p15:clr>
            <a:srgbClr val="FBAE40"/>
          </p15:clr>
        </p15:guide>
        <p15:guide id="4" orient="horz" pos="509">
          <p15:clr>
            <a:srgbClr val="FBAE40"/>
          </p15:clr>
        </p15:guide>
        <p15:guide id="5" orient="horz" pos="2913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068874"/>
            <a:ext cx="12192000" cy="7637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48" tIns="38875" rIns="77748" bIns="38875" rtlCol="0" anchor="ctr"/>
          <a:lstStyle/>
          <a:p>
            <a:pPr marL="0" marR="0" lvl="0" indent="0" algn="ctr" defTabSz="10884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133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 userDrawn="1"/>
        </p:nvGraphicFramePr>
        <p:xfrm>
          <a:off x="1964573" y="177429"/>
          <a:ext cx="10251428" cy="6695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3707165247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533390485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593088657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82311552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50545279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41454628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010013067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35571244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602661088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419556236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496737318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55958706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300017653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02915311"/>
                    </a:ext>
                  </a:extLst>
                </a:gridCol>
                <a:gridCol w="171428">
                  <a:extLst>
                    <a:ext uri="{9D8B030D-6E8A-4147-A177-3AD203B41FA5}">
                      <a16:colId xmlns:a16="http://schemas.microsoft.com/office/drawing/2014/main" val="752336500"/>
                    </a:ext>
                  </a:extLst>
                </a:gridCol>
              </a:tblGrid>
              <a:tr h="9144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GB" sz="500" b="0" dirty="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2016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017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8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8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201760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GB" sz="500" b="0" dirty="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Q4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an</a:t>
                      </a:r>
                      <a:endParaRPr kumimoji="0" lang="en-GB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Feb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Mar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Q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6298329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500" b="0" dirty="0">
                        <a:solidFill>
                          <a:schemeClr val="bg1">
                            <a:lumMod val="75000"/>
                          </a:schemeClr>
                        </a:solidFill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Jan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Week 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Week 2</a:t>
                      </a: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Week 3</a:t>
                      </a: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Week 4</a:t>
                      </a: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Week 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Week 2</a:t>
                      </a: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Week 3</a:t>
                      </a: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Week4</a:t>
                      </a: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Week 5</a:t>
                      </a: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Apr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May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Jun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297672"/>
                  </a:ext>
                </a:extLst>
              </a:tr>
              <a:tr h="6420857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GB" sz="500" b="0" dirty="0">
                        <a:solidFill>
                          <a:schemeClr val="bg1">
                            <a:lumMod val="75000"/>
                          </a:schemeClr>
                        </a:solidFill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6446725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1745929" y="108857"/>
            <a:ext cx="1219200" cy="28346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48" tIns="38875" rIns="77748" bIns="38875" rtlCol="0" anchor="ctr"/>
          <a:lstStyle/>
          <a:p>
            <a:pPr algn="ctr"/>
            <a:r>
              <a:rPr lang="en-GB" sz="1600" dirty="0"/>
              <a:t>Mid L</a:t>
            </a:r>
          </a:p>
        </p:txBody>
      </p:sp>
    </p:spTree>
    <p:extLst>
      <p:ext uri="{BB962C8B-B14F-4D97-AF65-F5344CB8AC3E}">
        <p14:creationId xmlns:p14="http://schemas.microsoft.com/office/powerpoint/2010/main" val="22486236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B804F4-5CEA-4CF8-88F5-1291E77459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0F9EBF-22BA-4C5F-AA61-7BF003902B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4F0309-1CFB-454B-BE19-018DF793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F4D8D2-6F13-40AF-BA72-9CE15E43991B}" type="datetimeFigureOut">
              <a:rPr lang="en-US" smtClean="0"/>
              <a:t>5/1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DB1F44-1D2F-4931-83F3-427C2B2169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1554E9-CD55-4919-B153-2C73B14872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135DB-265F-4B98-825A-7978B517B49D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34665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CC9CC3-E97B-4B26-9A34-373428E59A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B78030-CE31-4D2E-9005-15095A222A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94B248-7C5D-44C4-A2CC-852494868B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F4D8D2-6F13-40AF-BA72-9CE15E43991B}" type="datetimeFigureOut">
              <a:rPr lang="en-US" smtClean="0"/>
              <a:t>5/1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F3840C-ECF3-484C-8248-FA0E88630B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3304A1-D088-4EF1-9A23-2EC400DEF7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135DB-265F-4B98-825A-7978B517B49D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36487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D2545C-5FCD-4B8B-B5B6-764E3F2CC0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679B80-0C63-4399-9E9D-5B84AFCAC3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FFD0D6-89DA-4021-A7D3-25753B6762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F4D8D2-6F13-40AF-BA72-9CE15E43991B}" type="datetimeFigureOut">
              <a:rPr lang="en-US" smtClean="0"/>
              <a:t>5/1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B8359B-D7DF-4B58-B466-208F2AD57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0A3148-5E29-4761-ADCF-41C5FD44B7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135DB-265F-4B98-825A-7978B517B49D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393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496AE-6516-45F3-BF35-3978FCA0B4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DCCD7C-5A41-4FB5-BE8A-C9510FA3D47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77F517-8713-47A1-848A-0C4F8D3789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D0EDA7-36C0-44FA-8312-C5E541AE73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F4D8D2-6F13-40AF-BA72-9CE15E43991B}" type="datetimeFigureOut">
              <a:rPr lang="en-US" smtClean="0"/>
              <a:t>5/17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120735-EBA8-46F0-91AE-2917291E66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4BB0606-CF72-4541-9564-590684374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135DB-265F-4B98-825A-7978B517B49D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87115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6A5106-C754-423E-815E-74ED1ED03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3B4625-60EE-40AB-B2ED-C1CFBE87D5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E94AE2-7FCB-4C9B-AD90-85301F65B76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0FC921-8BB0-4EA1-B5E7-015142A2E91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0A4E010-7359-4973-B71D-77E08BE5695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153A467-2B0C-430E-8599-A90C24744F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F4D8D2-6F13-40AF-BA72-9CE15E43991B}" type="datetimeFigureOut">
              <a:rPr lang="en-US" smtClean="0"/>
              <a:t>5/17/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D56FDEB-7ECC-4EDD-91CC-4339B9C012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D579A4D-CF1E-42F6-B493-D9B6AC273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135DB-265F-4B98-825A-7978B517B49D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3064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58A68E-3814-4BF8-A827-6FD9E1DE4B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3BED153-C6FE-487C-B553-FC40649221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F4D8D2-6F13-40AF-BA72-9CE15E43991B}" type="datetimeFigureOut">
              <a:rPr lang="en-US" smtClean="0"/>
              <a:t>5/17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40D204-8C4D-4530-B3D6-AD4EBD02D1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30E4CD-0D72-471A-91FB-BF1E672E0C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135DB-265F-4B98-825A-7978B517B49D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8492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37BD66B-FE52-4D25-BEC6-D1CE5464A3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F4D8D2-6F13-40AF-BA72-9CE15E43991B}" type="datetimeFigureOut">
              <a:rPr lang="en-US" smtClean="0"/>
              <a:t>5/17/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4EF1B98-67A7-49B0-ACD5-8EE9D56E79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D3DF55-7477-49E6-A697-73FA69379E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135DB-265F-4B98-825A-7978B517B49D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08492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ng Headlin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 Placeholder 42"/>
          <p:cNvSpPr>
            <a:spLocks noGrp="1"/>
          </p:cNvSpPr>
          <p:nvPr>
            <p:ph type="body" sz="quarter" idx="28" hasCustomPrompt="1"/>
          </p:nvPr>
        </p:nvSpPr>
        <p:spPr>
          <a:xfrm>
            <a:off x="5353625" y="4173365"/>
            <a:ext cx="1484313" cy="630237"/>
          </a:xfrm>
        </p:spPr>
        <p:txBody>
          <a:bodyPr>
            <a:normAutofit/>
          </a:bodyPr>
          <a:lstStyle>
            <a:lvl1pPr algn="ctr">
              <a:lnSpc>
                <a:spcPct val="80000"/>
              </a:lnSpc>
              <a:spcAft>
                <a:spcPts val="0"/>
              </a:spcAft>
              <a:defRPr lang="es-AR" sz="2800" kern="0" spc="67" dirty="0" smtClean="0">
                <a:solidFill>
                  <a:schemeClr val="tx1"/>
                </a:solidFill>
                <a:latin typeface="+mj-lt"/>
                <a:ea typeface="+mn-ea"/>
                <a:cs typeface="Gotham Book"/>
              </a:defRPr>
            </a:lvl1pPr>
          </a:lstStyle>
          <a:p>
            <a:pPr lvl="0"/>
            <a:r>
              <a:rPr lang="es-AR" dirty="0"/>
              <a:t>TEXT</a:t>
            </a:r>
            <a:endParaRPr lang="en-US" dirty="0"/>
          </a:p>
        </p:txBody>
      </p:sp>
      <p:sp>
        <p:nvSpPr>
          <p:cNvPr id="62" name="Text Placeholder 2"/>
          <p:cNvSpPr>
            <a:spLocks noGrp="1"/>
          </p:cNvSpPr>
          <p:nvPr>
            <p:ph type="body" sz="quarter" idx="30" hasCustomPrompt="1"/>
          </p:nvPr>
        </p:nvSpPr>
        <p:spPr>
          <a:xfrm>
            <a:off x="10010328" y="2698743"/>
            <a:ext cx="463045" cy="448133"/>
          </a:xfrm>
        </p:spPr>
        <p:txBody>
          <a:bodyPr>
            <a:normAutofit/>
          </a:bodyPr>
          <a:lstStyle>
            <a:lvl1pPr marL="0" indent="0" algn="l" defTabSz="457200" rtl="0" eaLnBrk="1" latinLnBrk="0" hangingPunct="1">
              <a:lnSpc>
                <a:spcPct val="70000"/>
              </a:lnSpc>
              <a:spcBef>
                <a:spcPts val="0"/>
              </a:spcBef>
              <a:buFont typeface="Arial"/>
              <a:buNone/>
              <a:defRPr lang="en-US" sz="4000" kern="1200" cap="all" baseline="0" dirty="0">
                <a:solidFill>
                  <a:schemeClr val="tx1"/>
                </a:solidFill>
                <a:latin typeface="+mj-lt"/>
                <a:ea typeface="+mn-ea"/>
                <a:cs typeface="Gotham Black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N</a:t>
            </a:r>
          </a:p>
        </p:txBody>
      </p:sp>
      <p:sp>
        <p:nvSpPr>
          <p:cNvPr id="57" name="Text Placeholder 2"/>
          <p:cNvSpPr>
            <a:spLocks noGrp="1"/>
          </p:cNvSpPr>
          <p:nvPr>
            <p:ph type="body" sz="quarter" idx="27" hasCustomPrompt="1"/>
          </p:nvPr>
        </p:nvSpPr>
        <p:spPr>
          <a:xfrm>
            <a:off x="5864478" y="2698744"/>
            <a:ext cx="463045" cy="448133"/>
          </a:xfrm>
        </p:spPr>
        <p:txBody>
          <a:bodyPr>
            <a:normAutofit/>
          </a:bodyPr>
          <a:lstStyle>
            <a:lvl1pPr marL="0" indent="0" algn="l" defTabSz="457200" rtl="0" eaLnBrk="1" latinLnBrk="0" hangingPunct="1">
              <a:lnSpc>
                <a:spcPct val="70000"/>
              </a:lnSpc>
              <a:spcBef>
                <a:spcPts val="0"/>
              </a:spcBef>
              <a:buFont typeface="Arial"/>
              <a:buNone/>
              <a:defRPr lang="en-US" sz="4000" kern="1200" cap="all" baseline="0" dirty="0">
                <a:solidFill>
                  <a:schemeClr val="tx1"/>
                </a:solidFill>
                <a:latin typeface="+mj-lt"/>
                <a:ea typeface="+mn-ea"/>
                <a:cs typeface="Gotham Black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N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24" hasCustomPrompt="1"/>
          </p:nvPr>
        </p:nvSpPr>
        <p:spPr>
          <a:xfrm>
            <a:off x="1222328" y="3934629"/>
            <a:ext cx="1484313" cy="205571"/>
          </a:xfrm>
        </p:spPr>
        <p:txBody>
          <a:bodyPr/>
          <a:lstStyle>
            <a:lvl1pPr algn="ctr">
              <a:lnSpc>
                <a:spcPct val="80000"/>
              </a:lnSpc>
              <a:spcAft>
                <a:spcPts val="0"/>
              </a:spcAft>
              <a:defRPr lang="es-AR" sz="2000" kern="0" spc="67" dirty="0" smtClean="0">
                <a:solidFill>
                  <a:schemeClr val="tx1"/>
                </a:solidFill>
                <a:latin typeface="+mj-lt"/>
                <a:ea typeface="+mn-ea"/>
                <a:cs typeface="Gotham Book"/>
              </a:defRPr>
            </a:lvl1pPr>
          </a:lstStyle>
          <a:p>
            <a:pPr lvl="0"/>
            <a:r>
              <a:rPr lang="es-AR" dirty="0"/>
              <a:t>EDI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1732744" y="2698744"/>
            <a:ext cx="463045" cy="448133"/>
          </a:xfrm>
        </p:spPr>
        <p:txBody>
          <a:bodyPr>
            <a:normAutofit/>
          </a:bodyPr>
          <a:lstStyle>
            <a:lvl1pPr marL="0" indent="0" algn="l" defTabSz="457200" rtl="0" eaLnBrk="1" latinLnBrk="0" hangingPunct="1">
              <a:lnSpc>
                <a:spcPct val="70000"/>
              </a:lnSpc>
              <a:spcBef>
                <a:spcPts val="0"/>
              </a:spcBef>
              <a:buFont typeface="Arial"/>
              <a:buNone/>
              <a:defRPr lang="en-US" sz="4000" kern="1200" cap="all" baseline="0" dirty="0">
                <a:solidFill>
                  <a:schemeClr val="tx1"/>
                </a:solidFill>
                <a:latin typeface="+mj-lt"/>
                <a:ea typeface="+mn-ea"/>
                <a:cs typeface="Gotham Black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N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77054"/>
          </a:xfrm>
        </p:spPr>
        <p:txBody>
          <a:bodyPr>
            <a:spAutoFit/>
          </a:bodyPr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2" hasCustomPrompt="1"/>
          </p:nvPr>
        </p:nvSpPr>
        <p:spPr>
          <a:xfrm>
            <a:off x="380999" y="858053"/>
            <a:ext cx="11374819" cy="631788"/>
          </a:xfrm>
        </p:spPr>
        <p:txBody>
          <a:bodyPr/>
          <a:lstStyle>
            <a:lvl1pPr>
              <a:defRPr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4" name="Oval 23"/>
          <p:cNvSpPr/>
          <p:nvPr userDrawn="1"/>
        </p:nvSpPr>
        <p:spPr>
          <a:xfrm>
            <a:off x="381000" y="2351363"/>
            <a:ext cx="3166533" cy="3166533"/>
          </a:xfrm>
          <a:prstGeom prst="ellipse">
            <a:avLst/>
          </a:prstGeom>
          <a:noFill/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grpSp>
        <p:nvGrpSpPr>
          <p:cNvPr id="25" name="Group 24"/>
          <p:cNvGrpSpPr/>
          <p:nvPr userDrawn="1">
            <p:custDataLst>
              <p:tags r:id="rId1"/>
            </p:custDataLst>
          </p:nvPr>
        </p:nvGrpSpPr>
        <p:grpSpPr>
          <a:xfrm>
            <a:off x="11034713" y="381000"/>
            <a:ext cx="776287" cy="266244"/>
            <a:chOff x="9933043" y="1498600"/>
            <a:chExt cx="1471557" cy="266244"/>
          </a:xfrm>
        </p:grpSpPr>
        <p:sp>
          <p:nvSpPr>
            <p:cNvPr id="26" name="TextBox 25"/>
            <p:cNvSpPr txBox="1"/>
            <p:nvPr/>
          </p:nvSpPr>
          <p:spPr>
            <a:xfrm>
              <a:off x="9933043" y="1524000"/>
              <a:ext cx="1471557" cy="215444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  <a:latin typeface="Arial" panose="020B0604020202020204" pitchFamily="34" charset="0"/>
                </a:rPr>
                <a:t>Internal</a:t>
              </a:r>
            </a:p>
          </p:txBody>
        </p:sp>
        <p:cxnSp>
          <p:nvCxnSpPr>
            <p:cNvPr id="27" name="Straight Connector 26"/>
            <p:cNvCxnSpPr/>
            <p:nvPr/>
          </p:nvCxnSpPr>
          <p:spPr>
            <a:xfrm>
              <a:off x="9933043" y="1498600"/>
              <a:ext cx="1471557" cy="0"/>
            </a:xfrm>
            <a:prstGeom prst="line">
              <a:avLst/>
            </a:prstGeom>
            <a:ln w="12700" cmpd="sng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9933043" y="1764844"/>
              <a:ext cx="1471557" cy="0"/>
            </a:xfrm>
            <a:prstGeom prst="line">
              <a:avLst/>
            </a:prstGeom>
            <a:ln w="12700" cmpd="sng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Oval 28"/>
          <p:cNvSpPr/>
          <p:nvPr userDrawn="1"/>
        </p:nvSpPr>
        <p:spPr>
          <a:xfrm>
            <a:off x="4512734" y="2351363"/>
            <a:ext cx="3166533" cy="3166533"/>
          </a:xfrm>
          <a:prstGeom prst="ellipse">
            <a:avLst/>
          </a:prstGeom>
          <a:noFill/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0" name="Oval 29"/>
          <p:cNvSpPr/>
          <p:nvPr userDrawn="1"/>
        </p:nvSpPr>
        <p:spPr>
          <a:xfrm>
            <a:off x="8644467" y="2351363"/>
            <a:ext cx="3166533" cy="3166533"/>
          </a:xfrm>
          <a:prstGeom prst="ellipse">
            <a:avLst/>
          </a:prstGeom>
          <a:noFill/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1221891" y="3225740"/>
            <a:ext cx="1484750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/>
        </p:nvCxnSpPr>
        <p:spPr>
          <a:xfrm>
            <a:off x="9485358" y="3225740"/>
            <a:ext cx="1484750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Text Placeholder 42"/>
          <p:cNvSpPr>
            <a:spLocks noGrp="1"/>
          </p:cNvSpPr>
          <p:nvPr>
            <p:ph type="body" sz="quarter" idx="25" hasCustomPrompt="1"/>
          </p:nvPr>
        </p:nvSpPr>
        <p:spPr>
          <a:xfrm>
            <a:off x="1221891" y="4173365"/>
            <a:ext cx="1484313" cy="630237"/>
          </a:xfrm>
        </p:spPr>
        <p:txBody>
          <a:bodyPr>
            <a:normAutofit/>
          </a:bodyPr>
          <a:lstStyle>
            <a:lvl1pPr algn="ctr">
              <a:lnSpc>
                <a:spcPct val="80000"/>
              </a:lnSpc>
              <a:spcAft>
                <a:spcPts val="0"/>
              </a:spcAft>
              <a:defRPr lang="es-AR" sz="2800" kern="0" spc="67" dirty="0" smtClean="0">
                <a:solidFill>
                  <a:schemeClr val="tx1"/>
                </a:solidFill>
                <a:latin typeface="+mj-lt"/>
                <a:ea typeface="+mn-ea"/>
                <a:cs typeface="Gotham Book"/>
              </a:defRPr>
            </a:lvl1pPr>
          </a:lstStyle>
          <a:p>
            <a:pPr lvl="0"/>
            <a:r>
              <a:rPr lang="es-AR" dirty="0"/>
              <a:t>TEXT</a:t>
            </a:r>
            <a:endParaRPr lang="en-US" dirty="0"/>
          </a:p>
        </p:txBody>
      </p:sp>
      <p:sp>
        <p:nvSpPr>
          <p:cNvPr id="56" name="Text Placeholder 42"/>
          <p:cNvSpPr>
            <a:spLocks noGrp="1"/>
          </p:cNvSpPr>
          <p:nvPr>
            <p:ph type="body" sz="quarter" idx="26" hasCustomPrompt="1"/>
          </p:nvPr>
        </p:nvSpPr>
        <p:spPr>
          <a:xfrm>
            <a:off x="5354062" y="3934629"/>
            <a:ext cx="1484313" cy="205571"/>
          </a:xfrm>
        </p:spPr>
        <p:txBody>
          <a:bodyPr/>
          <a:lstStyle>
            <a:lvl1pPr algn="ctr">
              <a:lnSpc>
                <a:spcPct val="80000"/>
              </a:lnSpc>
              <a:spcAft>
                <a:spcPts val="0"/>
              </a:spcAft>
              <a:defRPr lang="es-AR" sz="2000" kern="0" spc="67" dirty="0" smtClean="0">
                <a:solidFill>
                  <a:schemeClr val="tx1"/>
                </a:solidFill>
                <a:latin typeface="+mj-lt"/>
                <a:ea typeface="+mn-ea"/>
                <a:cs typeface="Gotham Book"/>
              </a:defRPr>
            </a:lvl1pPr>
          </a:lstStyle>
          <a:p>
            <a:pPr lvl="0"/>
            <a:r>
              <a:rPr lang="es-AR" dirty="0"/>
              <a:t>EDIT</a:t>
            </a:r>
            <a:endParaRPr lang="en-US" dirty="0"/>
          </a:p>
        </p:txBody>
      </p:sp>
      <p:cxnSp>
        <p:nvCxnSpPr>
          <p:cNvPr id="59" name="Straight Connector 58"/>
          <p:cNvCxnSpPr/>
          <p:nvPr userDrawn="1"/>
        </p:nvCxnSpPr>
        <p:spPr>
          <a:xfrm>
            <a:off x="5353625" y="3225740"/>
            <a:ext cx="1484750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Text Placeholder 42"/>
          <p:cNvSpPr>
            <a:spLocks noGrp="1"/>
          </p:cNvSpPr>
          <p:nvPr>
            <p:ph type="body" sz="quarter" idx="29" hasCustomPrompt="1"/>
          </p:nvPr>
        </p:nvSpPr>
        <p:spPr>
          <a:xfrm>
            <a:off x="9499912" y="3934628"/>
            <a:ext cx="1484313" cy="205571"/>
          </a:xfrm>
        </p:spPr>
        <p:txBody>
          <a:bodyPr/>
          <a:lstStyle>
            <a:lvl1pPr algn="ctr">
              <a:lnSpc>
                <a:spcPct val="80000"/>
              </a:lnSpc>
              <a:spcAft>
                <a:spcPts val="0"/>
              </a:spcAft>
              <a:defRPr lang="es-AR" sz="2000" kern="0" spc="67" dirty="0" smtClean="0">
                <a:solidFill>
                  <a:schemeClr val="tx1"/>
                </a:solidFill>
                <a:latin typeface="+mj-lt"/>
                <a:ea typeface="+mn-ea"/>
                <a:cs typeface="Gotham Book"/>
              </a:defRPr>
            </a:lvl1pPr>
          </a:lstStyle>
          <a:p>
            <a:pPr lvl="0"/>
            <a:r>
              <a:rPr lang="es-AR" dirty="0"/>
              <a:t>EDIT</a:t>
            </a:r>
            <a:endParaRPr lang="en-US" dirty="0"/>
          </a:p>
        </p:txBody>
      </p:sp>
      <p:sp>
        <p:nvSpPr>
          <p:cNvPr id="63" name="Oval 62"/>
          <p:cNvSpPr/>
          <p:nvPr userDrawn="1"/>
        </p:nvSpPr>
        <p:spPr>
          <a:xfrm>
            <a:off x="8658584" y="2351362"/>
            <a:ext cx="3166533" cy="3166533"/>
          </a:xfrm>
          <a:prstGeom prst="ellipse">
            <a:avLst/>
          </a:prstGeom>
          <a:noFill/>
          <a:ln w="285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cxnSp>
        <p:nvCxnSpPr>
          <p:cNvPr id="64" name="Straight Connector 63"/>
          <p:cNvCxnSpPr/>
          <p:nvPr userDrawn="1"/>
        </p:nvCxnSpPr>
        <p:spPr>
          <a:xfrm>
            <a:off x="9499475" y="3225739"/>
            <a:ext cx="1484750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Text Placeholder 42"/>
          <p:cNvSpPr>
            <a:spLocks noGrp="1"/>
          </p:cNvSpPr>
          <p:nvPr>
            <p:ph type="body" sz="quarter" idx="31" hasCustomPrompt="1"/>
          </p:nvPr>
        </p:nvSpPr>
        <p:spPr>
          <a:xfrm>
            <a:off x="9499475" y="4173364"/>
            <a:ext cx="1484313" cy="630237"/>
          </a:xfrm>
        </p:spPr>
        <p:txBody>
          <a:bodyPr>
            <a:normAutofit/>
          </a:bodyPr>
          <a:lstStyle>
            <a:lvl1pPr algn="ctr">
              <a:lnSpc>
                <a:spcPct val="80000"/>
              </a:lnSpc>
              <a:spcAft>
                <a:spcPts val="0"/>
              </a:spcAft>
              <a:defRPr lang="es-AR" sz="2800" kern="0" spc="67" dirty="0" smtClean="0">
                <a:solidFill>
                  <a:schemeClr val="tx1"/>
                </a:solidFill>
                <a:latin typeface="+mj-lt"/>
                <a:ea typeface="+mn-ea"/>
                <a:cs typeface="Gotham Book"/>
              </a:defRPr>
            </a:lvl1pPr>
          </a:lstStyle>
          <a:p>
            <a:pPr lvl="0"/>
            <a:r>
              <a:rPr lang="es-AR" dirty="0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4887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BE8AB1-F0C1-4AB6-9E9A-D25F19737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88053D-4190-4CD5-A8C0-DAEF12FF80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5E13B3-EE9A-4E24-9254-967E9B2D63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AA630F8-35CA-4096-ADB5-A99AD9CDB9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F4D8D2-6F13-40AF-BA72-9CE15E43991B}" type="datetimeFigureOut">
              <a:rPr lang="en-US" smtClean="0"/>
              <a:t>5/17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D7ACA93-B731-4E9B-98D6-C289F4565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AA30F6-DC4D-416F-9390-B517FAEF86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135DB-265F-4B98-825A-7978B517B49D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5452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B47AD8-E267-4FDB-9DA6-A96A8F3447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2E7955E-96FD-40EF-8882-605F21CC2F3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7E2281-2AC7-4044-AAA7-913EFF6B6D3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E0A7172-CB36-4370-BA0B-24FDBB41CA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F4D8D2-6F13-40AF-BA72-9CE15E43991B}" type="datetimeFigureOut">
              <a:rPr lang="en-US" smtClean="0"/>
              <a:t>5/17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24CA7D-B05C-436C-A45B-497BC2675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C960C6-0C60-4E4C-A7D5-0F27335492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135DB-265F-4B98-825A-7978B517B49D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14692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75CC77-B56E-4C6B-A200-EE59CE179F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91285E1-FB37-4161-9920-D8127F2274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803AD7-F1A0-4C66-BC5C-7E8952B813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F4D8D2-6F13-40AF-BA72-9CE15E43991B}" type="datetimeFigureOut">
              <a:rPr lang="en-US" smtClean="0"/>
              <a:t>5/1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24D9E5-C052-426C-9ABC-CB74DB449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B439B2-5C09-4E53-BC1D-6F2D0CFE0E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135DB-265F-4B98-825A-7978B517B49D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274399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62C8E23-3E90-4AB3-8346-F826CF71427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655ED1C-14AB-49D2-85C2-DD40165F68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546D8E-8FC7-41B6-8E4A-AEAA599B38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F4D8D2-6F13-40AF-BA72-9CE15E43991B}" type="datetimeFigureOut">
              <a:rPr lang="en-US" smtClean="0"/>
              <a:t>5/1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DAF0D0-E983-4A0C-8F57-E080B2C59F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33B8A2-2ACC-422C-9D27-4FC3D6604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8135DB-265F-4B98-825A-7978B517B49D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80707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EBD421-E477-405A-91D4-9468DE9BE4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B024F0D-0F00-4C64-975C-BD7D4FE0E3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7D0E03-CFD6-4610-88AC-17F03CE8E1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B609B-627E-4CFB-AA4F-AFB12CA386B7}" type="datetime1">
              <a:rPr lang="en-US" smtClean="0"/>
              <a:t>5/1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44536D-CBA9-4A34-85D3-481BD129E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C1F8E3-036A-45B8-BF1F-BEF0C559E2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78078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8C47AB-DC6F-40F0-B4FB-9C0850EE0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600" y="365126"/>
            <a:ext cx="11480800" cy="72476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0939C5-683A-4FDC-A8CF-5F35848AD6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5600" y="1616942"/>
            <a:ext cx="11480800" cy="456002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1FB5F0-A7AB-4ACB-91A6-4B836F17433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5600" y="6356350"/>
            <a:ext cx="2743200" cy="365125"/>
          </a:xfrm>
        </p:spPr>
        <p:txBody>
          <a:bodyPr/>
          <a:lstStyle/>
          <a:p>
            <a:fld id="{D7D45D62-6133-42E6-927A-B6877C8E1A28}" type="datetime1">
              <a:rPr lang="en-US" smtClean="0"/>
              <a:t>5/1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1BCE02-CEFC-4D30-BBB0-23CE2CB5B3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F49760-3E16-4F16-B710-C85178E29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93200" y="6356350"/>
            <a:ext cx="2743200" cy="365125"/>
          </a:xfrm>
        </p:spPr>
        <p:txBody>
          <a:bodyPr/>
          <a:lstStyle/>
          <a:p>
            <a:fld id="{5A4A7955-6230-48B4-BD8B-A7C460F75945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182140F-0A16-441A-870C-4D2C20AE423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55600" y="964800"/>
            <a:ext cx="11480800" cy="433532"/>
          </a:xfrm>
        </p:spPr>
        <p:txBody>
          <a:bodyPr>
            <a:norm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endParaRPr lang="nl-NL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597C024-34BF-4D78-AC35-D5D7329DE191}"/>
              </a:ext>
            </a:extLst>
          </p:cNvPr>
          <p:cNvGrpSpPr/>
          <p:nvPr userDrawn="1"/>
        </p:nvGrpSpPr>
        <p:grpSpPr>
          <a:xfrm>
            <a:off x="5178861" y="6378111"/>
            <a:ext cx="1834278" cy="321601"/>
            <a:chOff x="5365101" y="6378111"/>
            <a:chExt cx="1834278" cy="321601"/>
          </a:xfrm>
        </p:grpSpPr>
        <p:pic>
          <p:nvPicPr>
            <p:cNvPr id="9" name="Picture 2" descr="Afbeeldingsresultaat voor de normaalste zaak">
              <a:extLst>
                <a:ext uri="{FF2B5EF4-FFF2-40B4-BE49-F238E27FC236}">
                  <a16:creationId xmlns:a16="http://schemas.microsoft.com/office/drawing/2014/main" id="{2413A336-2D51-4769-BF1F-189C085B440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000" y="6378111"/>
              <a:ext cx="1103379" cy="3216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266" name="Picture 2" descr="https://ts.accenture.com/sites/BrandSpace/Pages/downloads/artworks/images/business_lockups/0_logo_black.png?v=20180402?v=20180402&amp;ctag=190306">
              <a:extLst>
                <a:ext uri="{FF2B5EF4-FFF2-40B4-BE49-F238E27FC236}">
                  <a16:creationId xmlns:a16="http://schemas.microsoft.com/office/drawing/2014/main" id="{D086F054-FA57-4EB8-B560-C1246ED57DC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5101" y="6452169"/>
              <a:ext cx="653337" cy="1734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647666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8C47AB-DC6F-40F0-B4FB-9C0850EE0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365126"/>
            <a:ext cx="10312399" cy="72476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0939C5-683A-4FDC-A8CF-5F35848AD6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5600" y="1616942"/>
            <a:ext cx="11480800" cy="456002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1FB5F0-A7AB-4ACB-91A6-4B836F17433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5600" y="6356350"/>
            <a:ext cx="2743200" cy="365125"/>
          </a:xfrm>
        </p:spPr>
        <p:txBody>
          <a:bodyPr/>
          <a:lstStyle/>
          <a:p>
            <a:fld id="{7A9872DB-1C94-4DAB-866A-F08CEF33F576}" type="datetime1">
              <a:rPr lang="en-US" smtClean="0"/>
              <a:t>5/1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1BCE02-CEFC-4D30-BBB0-23CE2CB5B3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F49760-3E16-4F16-B710-C85178E29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93200" y="6356350"/>
            <a:ext cx="2743200" cy="365125"/>
          </a:xfrm>
        </p:spPr>
        <p:txBody>
          <a:bodyPr/>
          <a:lstStyle/>
          <a:p>
            <a:fld id="{5A4A7955-6230-48B4-BD8B-A7C460F75945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182140F-0A16-441A-870C-4D2C20AE423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524000" y="962820"/>
            <a:ext cx="10312399" cy="433532"/>
          </a:xfrm>
        </p:spPr>
        <p:txBody>
          <a:bodyPr>
            <a:norm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endParaRPr lang="nl-NL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33FCAEC-33C7-4B67-8B72-770CD9755045}"/>
              </a:ext>
            </a:extLst>
          </p:cNvPr>
          <p:cNvGrpSpPr/>
          <p:nvPr userDrawn="1"/>
        </p:nvGrpSpPr>
        <p:grpSpPr>
          <a:xfrm>
            <a:off x="5178861" y="6378111"/>
            <a:ext cx="1834278" cy="321601"/>
            <a:chOff x="5365101" y="6378111"/>
            <a:chExt cx="1834278" cy="321601"/>
          </a:xfrm>
        </p:grpSpPr>
        <p:pic>
          <p:nvPicPr>
            <p:cNvPr id="11" name="Picture 2" descr="Afbeeldingsresultaat voor de normaalste zaak">
              <a:extLst>
                <a:ext uri="{FF2B5EF4-FFF2-40B4-BE49-F238E27FC236}">
                  <a16:creationId xmlns:a16="http://schemas.microsoft.com/office/drawing/2014/main" id="{08CF6220-A568-4BC6-86B7-B9D9B96877B7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000" y="6378111"/>
              <a:ext cx="1103379" cy="3216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" descr="https://ts.accenture.com/sites/BrandSpace/Pages/downloads/artworks/images/business_lockups/0_logo_black.png?v=20180402?v=20180402&amp;ctag=190306">
              <a:extLst>
                <a:ext uri="{FF2B5EF4-FFF2-40B4-BE49-F238E27FC236}">
                  <a16:creationId xmlns:a16="http://schemas.microsoft.com/office/drawing/2014/main" id="{A9355257-9C0F-4E2B-B2DF-8B822A8C6D3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5101" y="6452169"/>
              <a:ext cx="653337" cy="1734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4937310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9EE07D-6026-47C0-975A-7E493011B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C00015-2956-4E1F-B05F-214F1DE24E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556B43-C1CB-4618-B91B-AAAEEB4015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082E9-AF4F-4226-A453-DAA79BCCEDE3}" type="datetime1">
              <a:rPr lang="en-US" smtClean="0"/>
              <a:t>5/1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688E39-E80F-4C18-9C2A-69886B8221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4C5964-5187-4195-8EAF-85D18DC4F5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66781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67B990-ED8C-4AAA-8241-C4881B13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6612F2-9E33-44D3-80E2-578C5440A7C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8F7B21-660D-43B3-9151-B40C9ABCD7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326A10-CB05-4418-9338-CB55A7059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FBD631-C462-4183-8C20-DF017927DE49}" type="datetime1">
              <a:rPr lang="en-US" smtClean="0"/>
              <a:t>5/17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940335-9BE1-42D1-A30D-C3232BD3E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4E95C68-4307-4B03-8921-74DB10410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8436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7EBEC8-AC56-429B-89C3-BB6A0E6E3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3866BA-F48C-4383-B119-81B3496761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C89F967-CBBC-414E-9DC3-136707A8D3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905A60-FBC4-40AC-9F71-0FAD9CD7A69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24F92BA-75D6-44F9-A1C8-BCFBF6FF6E0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E93CDDC-3537-4692-BE83-87B2A82A70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38223B-7A3A-42B5-B548-499E0BC26106}" type="datetime1">
              <a:rPr lang="en-US" smtClean="0"/>
              <a:t>5/17/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F37B9E1-D5EA-4054-8D92-F930B36963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98A038-7CD6-4715-9FDA-7194E6BCAA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5373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0999" y="380999"/>
            <a:ext cx="8503607" cy="99060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380999" y="1810011"/>
            <a:ext cx="8572501" cy="46863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09747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D65FAF-B698-49B0-B197-FD64C97AFD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D3E3F44-F1D6-40F7-9A7D-0542C4A9C5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57B4DD-74C3-4C69-928A-64CD8D2B84AB}" type="datetime1">
              <a:rPr lang="en-US" smtClean="0"/>
              <a:t>5/17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248CC28-3F4A-42A0-B211-4BA085ADC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3B6C99-6764-43D0-84AE-52C83494F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0223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79C79D-3B8A-4FA9-BC4A-63E3EF10AA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6A44B3-A2DA-42E2-8E4E-4FD63A8D9BCE}" type="datetime1">
              <a:rPr lang="en-US" smtClean="0"/>
              <a:t>5/17/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4730E35-44DB-4FED-9E24-5BBE5D9DA8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CDC42F-3337-4692-B53C-A55290487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56677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907D58-952D-44D7-9911-60544C9F53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5BC150-9914-4A82-84CF-B3708B9757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4A7C02-9C7E-401F-BABE-D3028FF18C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D6080A-4623-4F4C-B5BF-7E9E7531FA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B4D8CC-5281-44F1-9C5B-FD3560DFA91F}" type="datetime1">
              <a:rPr lang="en-US" smtClean="0"/>
              <a:t>5/17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9B1D15-0BD5-4F6E-A265-BD1F2F361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FF764D4-AA29-4DF8-A501-E2B904E9CC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53450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4D526-F53C-446D-8D7C-8A73C2A6A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341CC3D-D32B-4629-85B8-E779A41050B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0517242-BF08-4A5E-ABD7-483896CAE9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B2B8E4-DF23-4701-B28A-B9E5700B31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7F203-5AB6-4C90-88DC-1651EF1C49FF}" type="datetime1">
              <a:rPr lang="en-US" smtClean="0"/>
              <a:t>5/17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6DE909-4588-4CF5-B2FA-B76312433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EA005E-65C2-4007-815C-52F23809FC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42150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6B1F3-61FB-4FDC-814D-EEC1C1FC37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52403B0-8D7F-4489-AB72-C346C88701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FC9304-E5BD-4F3E-ADB0-974FEBCDEA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D290E-BF29-4558-9488-FFA49CED8A5C}" type="datetime1">
              <a:rPr lang="en-US" smtClean="0"/>
              <a:t>5/1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38AD29-D9CD-42D8-9604-C47996EE9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52C394-EF43-405B-9653-70AAB9098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257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9D1E61D-2F00-41ED-8D92-7CAEB9A5A51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647491-5142-48CA-9664-F5082D450F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94576D-BE01-4BB5-A9F4-7DE4814E68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C928A-DE5D-457D-87E2-FF6E525E3AD5}" type="datetime1">
              <a:rPr lang="en-US" smtClean="0"/>
              <a:t>5/1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10CA14-AD61-4101-9143-F7884378CA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98B885-CFEA-4882-BBEA-C5F142089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88080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380998" y="1810011"/>
            <a:ext cx="5544000" cy="46863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0"/>
          </p:nvPr>
        </p:nvSpPr>
        <p:spPr>
          <a:xfrm>
            <a:off x="6277592" y="1810011"/>
            <a:ext cx="5544000" cy="46863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914258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0616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815625"/>
            <a:ext cx="5544000" cy="471525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9"/>
          </p:nvPr>
        </p:nvSpPr>
        <p:spPr>
          <a:xfrm>
            <a:off x="6267000" y="1815625"/>
            <a:ext cx="5544000" cy="471525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450096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8"/>
          </p:nvPr>
        </p:nvSpPr>
        <p:spPr>
          <a:xfrm>
            <a:off x="380999" y="1810013"/>
            <a:ext cx="8572501" cy="4689475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AMC_Footer"/>
          <p:cNvSpPr txBox="1">
            <a:spLocks/>
          </p:cNvSpPr>
          <p:nvPr userDrawn="1"/>
        </p:nvSpPr>
        <p:spPr>
          <a:xfrm>
            <a:off x="381000" y="6508170"/>
            <a:ext cx="8253742" cy="227013"/>
          </a:xfrm>
          <a:prstGeom prst="rect">
            <a:avLst/>
          </a:prstGeom>
        </p:spPr>
        <p:txBody>
          <a:bodyPr lIns="0" tIns="47992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9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17 Accenture. All rights reserved. </a:t>
            </a:r>
          </a:p>
        </p:txBody>
      </p:sp>
      <p:sp>
        <p:nvSpPr>
          <p:cNvPr id="9" name="Inhaltsplatzhalter 13"/>
          <p:cNvSpPr txBox="1">
            <a:spLocks/>
          </p:cNvSpPr>
          <p:nvPr userDrawn="1"/>
        </p:nvSpPr>
        <p:spPr>
          <a:xfrm>
            <a:off x="11282152" y="6508170"/>
            <a:ext cx="528848" cy="227013"/>
          </a:xfrm>
          <a:prstGeom prst="rect">
            <a:avLst/>
          </a:prstGeom>
        </p:spPr>
        <p:txBody>
          <a:bodyPr lIns="0" tIns="47992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0786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79569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0999" y="1810011"/>
            <a:ext cx="11430001" cy="46863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AMC_Footer"/>
          <p:cNvSpPr txBox="1">
            <a:spLocks/>
          </p:cNvSpPr>
          <p:nvPr userDrawn="1"/>
        </p:nvSpPr>
        <p:spPr>
          <a:xfrm>
            <a:off x="381000" y="6508170"/>
            <a:ext cx="8253742" cy="227013"/>
          </a:xfrm>
          <a:prstGeom prst="rect">
            <a:avLst/>
          </a:prstGeom>
        </p:spPr>
        <p:txBody>
          <a:bodyPr lIns="0" tIns="47992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9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17 Accenture. All rights reserved. </a:t>
            </a:r>
          </a:p>
        </p:txBody>
      </p:sp>
      <p:sp>
        <p:nvSpPr>
          <p:cNvPr id="8" name="Inhaltsplatzhalter 13"/>
          <p:cNvSpPr txBox="1">
            <a:spLocks/>
          </p:cNvSpPr>
          <p:nvPr userDrawn="1"/>
        </p:nvSpPr>
        <p:spPr>
          <a:xfrm>
            <a:off x="11282152" y="6508170"/>
            <a:ext cx="528848" cy="227013"/>
          </a:xfrm>
          <a:prstGeom prst="rect">
            <a:avLst/>
          </a:prstGeom>
        </p:spPr>
        <p:txBody>
          <a:bodyPr lIns="0" tIns="47992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541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ft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0" kern="1200" cap="all" spc="-15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1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52">
          <p15:clr>
            <a:srgbClr val="F26B43"/>
          </p15:clr>
        </p15:guide>
        <p15:guide id="2" pos="5640">
          <p15:clr>
            <a:srgbClr val="F26B43"/>
          </p15:clr>
        </p15:guide>
        <p15:guide id="3">
          <p15:clr>
            <a:srgbClr val="F26B43"/>
          </p15:clr>
        </p15:guide>
        <p15:guide id="6" orient="horz">
          <p15:clr>
            <a:srgbClr val="F26B43"/>
          </p15:clr>
        </p15:guide>
        <p15:guide id="8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10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6186"/>
            <a:ext cx="10515600" cy="6845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78673"/>
            <a:ext cx="10515600" cy="48977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848490" y="6204937"/>
            <a:ext cx="1807117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15038B-A33A-449D-B909-AD5BF17F79AA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7009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</p:sldLayoutIdLst>
  <p:hf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F08CBBC-137E-41B1-8C98-9EB03D2FE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4FDC42-324B-4553-AEDE-5B788797D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B7150E-1E05-4FE3-8645-0F348044F6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F4D8D2-6F13-40AF-BA72-9CE15E43991B}" type="datetimeFigureOut">
              <a:rPr lang="en-US" smtClean="0"/>
              <a:t>5/1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2442B3-A41A-4AA3-A553-6ECD6D0BB2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D8B59B-2FA9-4046-9F5E-0C5AF35866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8135DB-265F-4B98-825A-7978B517B49D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414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8373118-F27D-412D-B19A-2DB8C81015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537CCC-B536-48B0-B893-63FFC2EBD3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CE552F-73E7-48CE-AAB3-E947C535D5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74A08E-2FEB-48F2-B265-C6DE2724E8B7}" type="datetime1">
              <a:rPr lang="en-US" smtClean="0"/>
              <a:t>5/17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E40B4F-2015-4E9F-BCB3-E0BFA4AF9A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610C3C-BBD3-4864-98E4-5D7B08A627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4A7955-6230-48B4-BD8B-A7C460F7594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725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4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6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48EFC91-7D47-4B1A-AEBA-A8F8822E15C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139"/>
          <a:stretch/>
        </p:blipFill>
        <p:spPr>
          <a:xfrm>
            <a:off x="292100" y="362320"/>
            <a:ext cx="11607800" cy="613336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016AF48-2AA8-4B78-82AB-CE8B9E71F2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1" y="1701800"/>
            <a:ext cx="8431620" cy="345440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C4CCBA-12AD-4433-A381-A03661E3D927}"/>
              </a:ext>
            </a:extLst>
          </p:cNvPr>
          <p:cNvSpPr txBox="1"/>
          <p:nvPr/>
        </p:nvSpPr>
        <p:spPr>
          <a:xfrm>
            <a:off x="812800" y="2688511"/>
            <a:ext cx="7714512" cy="61555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Format implementatieplan</a:t>
            </a:r>
            <a:endParaRPr kumimoji="0" lang="nl-NL" sz="4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3AF8A23-0E85-44C1-93D9-1FB476664349}"/>
              </a:ext>
            </a:extLst>
          </p:cNvPr>
          <p:cNvGrpSpPr/>
          <p:nvPr/>
        </p:nvGrpSpPr>
        <p:grpSpPr>
          <a:xfrm>
            <a:off x="-1145219" y="266526"/>
            <a:ext cx="961895" cy="813337"/>
            <a:chOff x="-563998" y="12593663"/>
            <a:chExt cx="460356" cy="660501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0BBCEC0-23E5-42DC-B655-09F1E39BF88F}"/>
                </a:ext>
              </a:extLst>
            </p:cNvPr>
            <p:cNvSpPr/>
            <p:nvPr/>
          </p:nvSpPr>
          <p:spPr>
            <a:xfrm>
              <a:off x="-563998" y="12593663"/>
              <a:ext cx="187999" cy="190313"/>
            </a:xfrm>
            <a:prstGeom prst="rect">
              <a:avLst/>
            </a:prstGeom>
            <a:solidFill>
              <a:srgbClr val="E3173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9B79883-2C61-442F-8549-9E072C2FF092}"/>
                </a:ext>
              </a:extLst>
            </p:cNvPr>
            <p:cNvSpPr/>
            <p:nvPr/>
          </p:nvSpPr>
          <p:spPr>
            <a:xfrm>
              <a:off x="-291641" y="12593663"/>
              <a:ext cx="187999" cy="190313"/>
            </a:xfrm>
            <a:prstGeom prst="rect">
              <a:avLst/>
            </a:prstGeom>
            <a:solidFill>
              <a:srgbClr val="F3899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C6106DD-ACD5-4AC6-A8CB-7C0C235B132E}"/>
                </a:ext>
              </a:extLst>
            </p:cNvPr>
            <p:cNvSpPr/>
            <p:nvPr/>
          </p:nvSpPr>
          <p:spPr>
            <a:xfrm>
              <a:off x="-563998" y="12820920"/>
              <a:ext cx="187999" cy="190313"/>
            </a:xfrm>
            <a:prstGeom prst="rect">
              <a:avLst/>
            </a:prstGeom>
            <a:solidFill>
              <a:srgbClr val="62C2F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B5AA593-76C6-4E60-8097-0E4DCE98A3AA}"/>
                </a:ext>
              </a:extLst>
            </p:cNvPr>
            <p:cNvSpPr/>
            <p:nvPr/>
          </p:nvSpPr>
          <p:spPr>
            <a:xfrm>
              <a:off x="-291641" y="12820920"/>
              <a:ext cx="187999" cy="190313"/>
            </a:xfrm>
            <a:prstGeom prst="rect">
              <a:avLst/>
            </a:prstGeom>
            <a:solidFill>
              <a:srgbClr val="B6E2F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2881DE5-BF8E-44EF-88C6-B83E1E4BD59F}"/>
                </a:ext>
              </a:extLst>
            </p:cNvPr>
            <p:cNvSpPr/>
            <p:nvPr/>
          </p:nvSpPr>
          <p:spPr>
            <a:xfrm>
              <a:off x="-563998" y="13063851"/>
              <a:ext cx="187999" cy="190313"/>
            </a:xfrm>
            <a:prstGeom prst="rect">
              <a:avLst/>
            </a:prstGeom>
            <a:solidFill>
              <a:sysClr val="window" lastClr="FFFFFF">
                <a:lumMod val="6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89C3583-C439-4C8A-B376-D4497AD62522}"/>
                </a:ext>
              </a:extLst>
            </p:cNvPr>
            <p:cNvSpPr/>
            <p:nvPr/>
          </p:nvSpPr>
          <p:spPr>
            <a:xfrm>
              <a:off x="-291641" y="13063851"/>
              <a:ext cx="187999" cy="190313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FD739A43-7308-4A45-800C-2B124CABFA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944100" y="1701801"/>
            <a:ext cx="1955800" cy="345439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De Normaalste Zaak</a:t>
            </a:r>
          </a:p>
        </p:txBody>
      </p:sp>
      <p:pic>
        <p:nvPicPr>
          <p:cNvPr id="1026" name="Picture 2" descr="Afbeeldingsresultaat voor de normaalste zaak">
            <a:extLst>
              <a:ext uri="{FF2B5EF4-FFF2-40B4-BE49-F238E27FC236}">
                <a16:creationId xmlns:a16="http://schemas.microsoft.com/office/drawing/2014/main" id="{A09F4AA5-8638-4300-BE55-4ACF81E810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6747" y="4312218"/>
            <a:ext cx="1689523" cy="492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Image result for divosa logo png">
            <a:extLst>
              <a:ext uri="{FF2B5EF4-FFF2-40B4-BE49-F238E27FC236}">
                <a16:creationId xmlns:a16="http://schemas.microsoft.com/office/drawing/2014/main" id="{717A6EFE-4BA3-4C53-AC04-F257B45354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6747" y="3024808"/>
            <a:ext cx="1689523" cy="80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 result for vng realisatie logo png">
            <a:extLst>
              <a:ext uri="{FF2B5EF4-FFF2-40B4-BE49-F238E27FC236}">
                <a16:creationId xmlns:a16="http://schemas.microsoft.com/office/drawing/2014/main" id="{ABC4E86F-CD70-4C2C-B7B1-C123F30B33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6747" y="1872508"/>
            <a:ext cx="1689523" cy="922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A9BBB48-CCAE-438A-B981-C028EBB897A1}"/>
              </a:ext>
            </a:extLst>
          </p:cNvPr>
          <p:cNvSpPr txBox="1"/>
          <p:nvPr/>
        </p:nvSpPr>
        <p:spPr>
          <a:xfrm>
            <a:off x="6211957" y="4288949"/>
            <a:ext cx="2219662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nl-NL" sz="900" dirty="0">
              <a:solidFill>
                <a:schemeClr val="bg1"/>
              </a:solidFill>
            </a:endParaRPr>
          </a:p>
          <a:p>
            <a:pPr algn="r"/>
            <a:endParaRPr lang="nl-NL" sz="900" dirty="0">
              <a:solidFill>
                <a:schemeClr val="bg1"/>
              </a:solidFill>
            </a:endParaRPr>
          </a:p>
          <a:p>
            <a:pPr algn="r"/>
            <a:endParaRPr lang="nl-NL" sz="900" dirty="0">
              <a:solidFill>
                <a:schemeClr val="bg1"/>
              </a:solidFill>
            </a:endParaRPr>
          </a:p>
          <a:p>
            <a:pPr algn="r"/>
            <a:br>
              <a:rPr lang="nl-NL" sz="900">
                <a:solidFill>
                  <a:schemeClr val="bg1"/>
                </a:solidFill>
              </a:rPr>
            </a:br>
            <a:endParaRPr lang="nl-NL" sz="900" dirty="0">
              <a:solidFill>
                <a:schemeClr val="bg1"/>
              </a:solidFill>
            </a:endParaRPr>
          </a:p>
          <a:p>
            <a:pPr algn="r"/>
            <a:r>
              <a:rPr lang="nl-NL" sz="800" dirty="0">
                <a:solidFill>
                  <a:schemeClr val="bg1"/>
                </a:solidFill>
              </a:rPr>
              <a:t>Versie: 30-06-2022</a:t>
            </a:r>
          </a:p>
          <a:p>
            <a:pPr algn="r"/>
            <a:endParaRPr lang="nl-NL" sz="800" dirty="0">
              <a:solidFill>
                <a:schemeClr val="bg1"/>
              </a:solidFill>
            </a:endParaRPr>
          </a:p>
        </p:txBody>
      </p:sp>
      <p:sp>
        <p:nvSpPr>
          <p:cNvPr id="18" name="TextBox 8">
            <a:extLst>
              <a:ext uri="{FF2B5EF4-FFF2-40B4-BE49-F238E27FC236}">
                <a16:creationId xmlns:a16="http://schemas.microsoft.com/office/drawing/2014/main" id="{7FA41351-E6D2-4B42-9658-FF43038116DC}"/>
              </a:ext>
            </a:extLst>
          </p:cNvPr>
          <p:cNvSpPr txBox="1"/>
          <p:nvPr/>
        </p:nvSpPr>
        <p:spPr>
          <a:xfrm>
            <a:off x="812800" y="3304064"/>
            <a:ext cx="692317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Het format implementatieplan </a:t>
            </a:r>
            <a:r>
              <a:rPr lang="nl-NL" sz="1200" dirty="0">
                <a:solidFill>
                  <a:prstClr val="white"/>
                </a:solidFill>
                <a:latin typeface="Graphik"/>
              </a:rPr>
              <a:t>brengt</a:t>
            </a: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 de benodigde implementatiestappen in kaart. Op pagina 4 en 5 staat een</a:t>
            </a:r>
            <a:r>
              <a:rPr lang="nl-NL" sz="1200" dirty="0">
                <a:solidFill>
                  <a:prstClr val="white"/>
                </a:solidFill>
                <a:latin typeface="Graphik"/>
              </a:rPr>
              <a:t> fictief voorbeeld. Dit voorbeeld laat zien hoe het format gebruikt kan worden. </a:t>
            </a:r>
            <a:endParaRPr kumimoji="0" lang="nl-NL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91252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9" name="Object 3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8" name="Group 117">
            <a:extLst>
              <a:ext uri="{FF2B5EF4-FFF2-40B4-BE49-F238E27FC236}">
                <a16:creationId xmlns:a16="http://schemas.microsoft.com/office/drawing/2014/main" id="{64870E57-83FB-4A2D-971D-E6518146CCDC}"/>
              </a:ext>
            </a:extLst>
          </p:cNvPr>
          <p:cNvGrpSpPr/>
          <p:nvPr/>
        </p:nvGrpSpPr>
        <p:grpSpPr>
          <a:xfrm>
            <a:off x="-1145219" y="266526"/>
            <a:ext cx="961895" cy="813337"/>
            <a:chOff x="-563998" y="12593663"/>
            <a:chExt cx="460356" cy="660501"/>
          </a:xfrm>
        </p:grpSpPr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2E1EAEC5-308A-4645-8FC5-216F561D3A55}"/>
                </a:ext>
              </a:extLst>
            </p:cNvPr>
            <p:cNvSpPr/>
            <p:nvPr/>
          </p:nvSpPr>
          <p:spPr>
            <a:xfrm>
              <a:off x="-563998" y="12593663"/>
              <a:ext cx="187999" cy="190313"/>
            </a:xfrm>
            <a:prstGeom prst="rect">
              <a:avLst/>
            </a:prstGeom>
            <a:solidFill>
              <a:srgbClr val="E3173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40AE343E-2724-42DB-B455-DC553E1C844D}"/>
                </a:ext>
              </a:extLst>
            </p:cNvPr>
            <p:cNvSpPr/>
            <p:nvPr/>
          </p:nvSpPr>
          <p:spPr>
            <a:xfrm>
              <a:off x="-291641" y="12593663"/>
              <a:ext cx="187999" cy="190313"/>
            </a:xfrm>
            <a:prstGeom prst="rect">
              <a:avLst/>
            </a:prstGeom>
            <a:solidFill>
              <a:srgbClr val="F3899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3E39A00B-60CE-4AA2-9DDD-48DAD99D8BCA}"/>
                </a:ext>
              </a:extLst>
            </p:cNvPr>
            <p:cNvSpPr/>
            <p:nvPr/>
          </p:nvSpPr>
          <p:spPr>
            <a:xfrm>
              <a:off x="-563998" y="12820920"/>
              <a:ext cx="187999" cy="190313"/>
            </a:xfrm>
            <a:prstGeom prst="rect">
              <a:avLst/>
            </a:prstGeom>
            <a:solidFill>
              <a:srgbClr val="62C2F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572C110E-770E-4615-80B0-3197237704EB}"/>
                </a:ext>
              </a:extLst>
            </p:cNvPr>
            <p:cNvSpPr/>
            <p:nvPr/>
          </p:nvSpPr>
          <p:spPr>
            <a:xfrm>
              <a:off x="-291641" y="12820920"/>
              <a:ext cx="187999" cy="190313"/>
            </a:xfrm>
            <a:prstGeom prst="rect">
              <a:avLst/>
            </a:prstGeom>
            <a:solidFill>
              <a:srgbClr val="B6E2F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E969DF1D-8B55-47C3-B424-7DB460D557CD}"/>
                </a:ext>
              </a:extLst>
            </p:cNvPr>
            <p:cNvSpPr/>
            <p:nvPr/>
          </p:nvSpPr>
          <p:spPr>
            <a:xfrm>
              <a:off x="-563998" y="13063851"/>
              <a:ext cx="187999" cy="190313"/>
            </a:xfrm>
            <a:prstGeom prst="rect">
              <a:avLst/>
            </a:prstGeom>
            <a:solidFill>
              <a:sysClr val="window" lastClr="FFFFFF">
                <a:lumMod val="6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C0159F37-02C2-43E0-A018-75005538EFAE}"/>
                </a:ext>
              </a:extLst>
            </p:cNvPr>
            <p:cNvSpPr/>
            <p:nvPr/>
          </p:nvSpPr>
          <p:spPr>
            <a:xfrm>
              <a:off x="-291641" y="13063851"/>
              <a:ext cx="187999" cy="190313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DD5E2A93-1F13-46E2-A21F-3F2170931477}"/>
              </a:ext>
            </a:extLst>
          </p:cNvPr>
          <p:cNvSpPr txBox="1">
            <a:spLocks/>
          </p:cNvSpPr>
          <p:nvPr/>
        </p:nvSpPr>
        <p:spPr>
          <a:xfrm>
            <a:off x="383507" y="471858"/>
            <a:ext cx="3600000" cy="170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nl-NL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69" name="Text Placeholder 3">
            <a:extLst>
              <a:ext uri="{FF2B5EF4-FFF2-40B4-BE49-F238E27FC236}">
                <a16:creationId xmlns:a16="http://schemas.microsoft.com/office/drawing/2014/main" id="{F2D1DEBD-28ED-4D6F-B4B2-F1EBCC754FDB}"/>
              </a:ext>
            </a:extLst>
          </p:cNvPr>
          <p:cNvSpPr txBox="1">
            <a:spLocks/>
          </p:cNvSpPr>
          <p:nvPr/>
        </p:nvSpPr>
        <p:spPr>
          <a:xfrm>
            <a:off x="383507" y="301617"/>
            <a:ext cx="3600000" cy="170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Graphik Bold" panose="020B0803030202060203" pitchFamily="34" charset="0"/>
              </a:rPr>
              <a:t>IMPLEMENTATIEPLAN</a:t>
            </a:r>
            <a:endParaRPr kumimoji="0" lang="nl-NL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Graphik Bold" panose="020B0803030202060203" pitchFamily="34" charset="0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95FA336-5102-4615-9F7D-FB5B62400938}"/>
              </a:ext>
            </a:extLst>
          </p:cNvPr>
          <p:cNvSpPr/>
          <p:nvPr/>
        </p:nvSpPr>
        <p:spPr>
          <a:xfrm>
            <a:off x="-576140" y="1144657"/>
            <a:ext cx="392816" cy="234350"/>
          </a:xfrm>
          <a:prstGeom prst="rect">
            <a:avLst/>
          </a:prstGeom>
          <a:solidFill>
            <a:srgbClr val="44546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59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49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Rectangle 1">
            <a:extLst>
              <a:ext uri="{FF2B5EF4-FFF2-40B4-BE49-F238E27FC236}">
                <a16:creationId xmlns:a16="http://schemas.microsoft.com/office/drawing/2014/main" id="{06CE5797-DEC8-4A69-A0EA-25F9360F5A1E}"/>
              </a:ext>
            </a:extLst>
          </p:cNvPr>
          <p:cNvSpPr/>
          <p:nvPr/>
        </p:nvSpPr>
        <p:spPr>
          <a:xfrm>
            <a:off x="383507" y="821698"/>
            <a:ext cx="7097163" cy="2343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HTERGRONDINFORMATIE &amp; UITDAGING</a:t>
            </a:r>
          </a:p>
        </p:txBody>
      </p:sp>
      <p:sp>
        <p:nvSpPr>
          <p:cNvPr id="34" name="Rectangle 17">
            <a:extLst>
              <a:ext uri="{FF2B5EF4-FFF2-40B4-BE49-F238E27FC236}">
                <a16:creationId xmlns:a16="http://schemas.microsoft.com/office/drawing/2014/main" id="{D046C566-E7B6-4D0A-A0BC-46C641556C0A}"/>
              </a:ext>
            </a:extLst>
          </p:cNvPr>
          <p:cNvSpPr/>
          <p:nvPr/>
        </p:nvSpPr>
        <p:spPr>
          <a:xfrm>
            <a:off x="383504" y="1827742"/>
            <a:ext cx="7097163" cy="2343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kumimoji="0" lang="nl-NL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Graphik"/>
                <a:ea typeface="+mn-ea"/>
                <a:cs typeface="+mn-cs"/>
              </a:rPr>
              <a:t>TE IMPLEMENTEREN WIJZIGINGEN</a:t>
            </a:r>
            <a:r>
              <a:rPr lang="nl-NL" sz="1400" b="1">
                <a:latin typeface="Graphik"/>
              </a:rPr>
              <a:t>  </a:t>
            </a:r>
            <a:endParaRPr kumimoji="0" lang="nl-NL" sz="14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6" name="Rectangle 19">
            <a:extLst>
              <a:ext uri="{FF2B5EF4-FFF2-40B4-BE49-F238E27FC236}">
                <a16:creationId xmlns:a16="http://schemas.microsoft.com/office/drawing/2014/main" id="{A86F918E-406F-4D3A-9972-F34AF6745E4C}"/>
              </a:ext>
            </a:extLst>
          </p:cNvPr>
          <p:cNvSpPr/>
          <p:nvPr/>
        </p:nvSpPr>
        <p:spPr>
          <a:xfrm>
            <a:off x="385442" y="3164516"/>
            <a:ext cx="3456000" cy="2343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CCES INDICATOREN</a:t>
            </a:r>
          </a:p>
        </p:txBody>
      </p:sp>
      <p:sp>
        <p:nvSpPr>
          <p:cNvPr id="37" name="Rectangle 20">
            <a:extLst>
              <a:ext uri="{FF2B5EF4-FFF2-40B4-BE49-F238E27FC236}">
                <a16:creationId xmlns:a16="http://schemas.microsoft.com/office/drawing/2014/main" id="{4A07F27F-CCF1-457D-80A0-0866E4D6F9B8}"/>
              </a:ext>
            </a:extLst>
          </p:cNvPr>
          <p:cNvSpPr/>
          <p:nvPr/>
        </p:nvSpPr>
        <p:spPr>
          <a:xfrm>
            <a:off x="4024667" y="3164516"/>
            <a:ext cx="3456000" cy="2343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RISICO’S</a:t>
            </a:r>
          </a:p>
        </p:txBody>
      </p:sp>
      <p:sp>
        <p:nvSpPr>
          <p:cNvPr id="38" name="Rectangle 27">
            <a:extLst>
              <a:ext uri="{FF2B5EF4-FFF2-40B4-BE49-F238E27FC236}">
                <a16:creationId xmlns:a16="http://schemas.microsoft.com/office/drawing/2014/main" id="{49AE2FC9-0487-4EFA-87E7-83E0D747FA36}"/>
              </a:ext>
            </a:extLst>
          </p:cNvPr>
          <p:cNvSpPr/>
          <p:nvPr/>
        </p:nvSpPr>
        <p:spPr>
          <a:xfrm>
            <a:off x="383505" y="1035059"/>
            <a:ext cx="7097162" cy="71352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0" name="Rectangle 27">
            <a:extLst>
              <a:ext uri="{FF2B5EF4-FFF2-40B4-BE49-F238E27FC236}">
                <a16:creationId xmlns:a16="http://schemas.microsoft.com/office/drawing/2014/main" id="{512181B8-1021-4D5D-9FA1-D16DB86B295B}"/>
              </a:ext>
            </a:extLst>
          </p:cNvPr>
          <p:cNvSpPr/>
          <p:nvPr/>
        </p:nvSpPr>
        <p:spPr>
          <a:xfrm>
            <a:off x="383503" y="2062092"/>
            <a:ext cx="7097162" cy="113123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marR="0" lvl="0" indent="-2286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nl-NL" sz="1100" i="1" dirty="0">
                <a:solidFill>
                  <a:schemeClr val="tx1"/>
                </a:solidFill>
                <a:latin typeface="Graphik"/>
              </a:rPr>
              <a:t>..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l-NL" sz="1100" i="1" dirty="0">
                <a:solidFill>
                  <a:schemeClr val="tx1"/>
                </a:solidFill>
                <a:latin typeface="Graphik"/>
              </a:rPr>
              <a:t>2.</a:t>
            </a:r>
            <a:endParaRPr kumimoji="0" lang="nl-NL" sz="1100" b="0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  <a:p>
            <a:pPr marL="228600" marR="0" lvl="0" indent="-2286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nl-NL" sz="1100" b="0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2" name="Rectangle 27">
            <a:extLst>
              <a:ext uri="{FF2B5EF4-FFF2-40B4-BE49-F238E27FC236}">
                <a16:creationId xmlns:a16="http://schemas.microsoft.com/office/drawing/2014/main" id="{71DB7BD1-A61F-4708-BE60-DD6233961695}"/>
              </a:ext>
            </a:extLst>
          </p:cNvPr>
          <p:cNvSpPr/>
          <p:nvPr/>
        </p:nvSpPr>
        <p:spPr>
          <a:xfrm>
            <a:off x="385443" y="3399381"/>
            <a:ext cx="3456000" cy="113123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3" name="Rectangle 27">
            <a:extLst>
              <a:ext uri="{FF2B5EF4-FFF2-40B4-BE49-F238E27FC236}">
                <a16:creationId xmlns:a16="http://schemas.microsoft.com/office/drawing/2014/main" id="{1C189FB8-1858-40A9-9478-9D74864D427F}"/>
              </a:ext>
            </a:extLst>
          </p:cNvPr>
          <p:cNvSpPr/>
          <p:nvPr/>
        </p:nvSpPr>
        <p:spPr>
          <a:xfrm>
            <a:off x="4024667" y="3406687"/>
            <a:ext cx="3456000" cy="113123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4" name="Rectangle 1">
            <a:extLst>
              <a:ext uri="{FF2B5EF4-FFF2-40B4-BE49-F238E27FC236}">
                <a16:creationId xmlns:a16="http://schemas.microsoft.com/office/drawing/2014/main" id="{4B38944C-C821-42D6-9257-4D50E105EF5E}"/>
              </a:ext>
            </a:extLst>
          </p:cNvPr>
          <p:cNvSpPr/>
          <p:nvPr/>
        </p:nvSpPr>
        <p:spPr>
          <a:xfrm>
            <a:off x="7654836" y="782048"/>
            <a:ext cx="4144607" cy="2343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MIJLPALEN</a:t>
            </a:r>
          </a:p>
        </p:txBody>
      </p:sp>
      <p:sp>
        <p:nvSpPr>
          <p:cNvPr id="46" name="Rectangle 1">
            <a:extLst>
              <a:ext uri="{FF2B5EF4-FFF2-40B4-BE49-F238E27FC236}">
                <a16:creationId xmlns:a16="http://schemas.microsoft.com/office/drawing/2014/main" id="{9E5C4485-B7F0-4686-8917-A9BF9A3DFA7E}"/>
              </a:ext>
            </a:extLst>
          </p:cNvPr>
          <p:cNvSpPr/>
          <p:nvPr/>
        </p:nvSpPr>
        <p:spPr>
          <a:xfrm>
            <a:off x="7663891" y="3728721"/>
            <a:ext cx="4144607" cy="2343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EAM</a:t>
            </a:r>
          </a:p>
        </p:txBody>
      </p:sp>
      <p:graphicFrame>
        <p:nvGraphicFramePr>
          <p:cNvPr id="2" name="Tabel 1">
            <a:extLst>
              <a:ext uri="{FF2B5EF4-FFF2-40B4-BE49-F238E27FC236}">
                <a16:creationId xmlns:a16="http://schemas.microsoft.com/office/drawing/2014/main" id="{60B0A977-D1FC-454C-B624-293B730E58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2272391"/>
              </p:ext>
            </p:extLst>
          </p:nvPr>
        </p:nvGraphicFramePr>
        <p:xfrm>
          <a:off x="7663891" y="4160177"/>
          <a:ext cx="4144608" cy="2357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26354">
                  <a:extLst>
                    <a:ext uri="{9D8B030D-6E8A-4147-A177-3AD203B41FA5}">
                      <a16:colId xmlns:a16="http://schemas.microsoft.com/office/drawing/2014/main" val="2287907323"/>
                    </a:ext>
                  </a:extLst>
                </a:gridCol>
                <a:gridCol w="1218254">
                  <a:extLst>
                    <a:ext uri="{9D8B030D-6E8A-4147-A177-3AD203B41FA5}">
                      <a16:colId xmlns:a16="http://schemas.microsoft.com/office/drawing/2014/main" val="1903952502"/>
                    </a:ext>
                  </a:extLst>
                </a:gridCol>
              </a:tblGrid>
              <a:tr h="432307">
                <a:tc>
                  <a:txBody>
                    <a:bodyPr/>
                    <a:lstStyle/>
                    <a:p>
                      <a:r>
                        <a:rPr lang="nl-NL" sz="1400" dirty="0"/>
                        <a:t>Ro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dirty="0"/>
                        <a:t>Naa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3676494"/>
                  </a:ext>
                </a:extLst>
              </a:tr>
              <a:tr h="530022"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902595"/>
                  </a:ext>
                </a:extLst>
              </a:tr>
              <a:tr h="481182"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3842275"/>
                  </a:ext>
                </a:extLst>
              </a:tr>
              <a:tr h="432307"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1623126"/>
                  </a:ext>
                </a:extLst>
              </a:tr>
              <a:tr h="481182"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6858694"/>
                  </a:ext>
                </a:extLst>
              </a:tr>
            </a:tbl>
          </a:graphicData>
        </a:graphic>
      </p:graphicFrame>
      <p:graphicFrame>
        <p:nvGraphicFramePr>
          <p:cNvPr id="3" name="Tabel 2">
            <a:extLst>
              <a:ext uri="{FF2B5EF4-FFF2-40B4-BE49-F238E27FC236}">
                <a16:creationId xmlns:a16="http://schemas.microsoft.com/office/drawing/2014/main" id="{B0662F38-1D56-47E0-953C-BDB9856E2E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7262459"/>
              </p:ext>
            </p:extLst>
          </p:nvPr>
        </p:nvGraphicFramePr>
        <p:xfrm>
          <a:off x="378296" y="4568718"/>
          <a:ext cx="7097162" cy="19324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4616">
                  <a:extLst>
                    <a:ext uri="{9D8B030D-6E8A-4147-A177-3AD203B41FA5}">
                      <a16:colId xmlns:a16="http://schemas.microsoft.com/office/drawing/2014/main" val="2571499201"/>
                    </a:ext>
                  </a:extLst>
                </a:gridCol>
                <a:gridCol w="5932546">
                  <a:extLst>
                    <a:ext uri="{9D8B030D-6E8A-4147-A177-3AD203B41FA5}">
                      <a16:colId xmlns:a16="http://schemas.microsoft.com/office/drawing/2014/main" val="611252300"/>
                    </a:ext>
                  </a:extLst>
                </a:gridCol>
              </a:tblGrid>
              <a:tr h="389138">
                <a:tc gridSpan="2">
                  <a:txBody>
                    <a:bodyPr/>
                    <a:lstStyle/>
                    <a:p>
                      <a:pPr algn="ctr"/>
                      <a:r>
                        <a:rPr lang="nl-NL" sz="1400" dirty="0"/>
                        <a:t>IMPAC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5575822"/>
                  </a:ext>
                </a:extLst>
              </a:tr>
              <a:tr h="385830">
                <a:tc>
                  <a:txBody>
                    <a:bodyPr/>
                    <a:lstStyle/>
                    <a:p>
                      <a:r>
                        <a:rPr lang="nl-NL" sz="1100" b="1" dirty="0"/>
                        <a:t>Organisat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4429064"/>
                  </a:ext>
                </a:extLst>
              </a:tr>
              <a:tr h="385830">
                <a:tc>
                  <a:txBody>
                    <a:bodyPr/>
                    <a:lstStyle/>
                    <a:p>
                      <a:r>
                        <a:rPr lang="nl-NL" sz="1100" b="1" dirty="0"/>
                        <a:t>Pro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2152020"/>
                  </a:ext>
                </a:extLst>
              </a:tr>
              <a:tr h="385830">
                <a:tc>
                  <a:txBody>
                    <a:bodyPr/>
                    <a:lstStyle/>
                    <a:p>
                      <a:r>
                        <a:rPr lang="nl-NL" sz="1100" b="1" dirty="0"/>
                        <a:t>System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572879"/>
                  </a:ext>
                </a:extLst>
              </a:tr>
              <a:tr h="385830">
                <a:tc>
                  <a:txBody>
                    <a:bodyPr/>
                    <a:lstStyle/>
                    <a:p>
                      <a:r>
                        <a:rPr lang="nl-NL" sz="1100" b="1" dirty="0"/>
                        <a:t>Mens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5326706"/>
                  </a:ext>
                </a:extLst>
              </a:tr>
            </a:tbl>
          </a:graphicData>
        </a:graphic>
      </p:graphicFrame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9D2129CF-B483-4964-A536-3FFD5F5313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551128"/>
              </p:ext>
            </p:extLst>
          </p:nvPr>
        </p:nvGraphicFramePr>
        <p:xfrm>
          <a:off x="7673218" y="1105058"/>
          <a:ext cx="4135554" cy="23239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8478">
                  <a:extLst>
                    <a:ext uri="{9D8B030D-6E8A-4147-A177-3AD203B41FA5}">
                      <a16:colId xmlns:a16="http://schemas.microsoft.com/office/drawing/2014/main" val="3472862417"/>
                    </a:ext>
                  </a:extLst>
                </a:gridCol>
                <a:gridCol w="1770434">
                  <a:extLst>
                    <a:ext uri="{9D8B030D-6E8A-4147-A177-3AD203B41FA5}">
                      <a16:colId xmlns:a16="http://schemas.microsoft.com/office/drawing/2014/main" val="3035727734"/>
                    </a:ext>
                  </a:extLst>
                </a:gridCol>
                <a:gridCol w="826642">
                  <a:extLst>
                    <a:ext uri="{9D8B030D-6E8A-4147-A177-3AD203B41FA5}">
                      <a16:colId xmlns:a16="http://schemas.microsoft.com/office/drawing/2014/main" val="2425567713"/>
                    </a:ext>
                  </a:extLst>
                </a:gridCol>
              </a:tblGrid>
              <a:tr h="520090">
                <a:tc>
                  <a:txBody>
                    <a:bodyPr/>
                    <a:lstStyle/>
                    <a:p>
                      <a:r>
                        <a:rPr lang="nl-NL" sz="1400" dirty="0"/>
                        <a:t>Mijlpa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dirty="0"/>
                        <a:t>Betrokken/ Aanwezi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dirty="0"/>
                        <a:t>Datu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2136185"/>
                  </a:ext>
                </a:extLst>
              </a:tr>
              <a:tr h="333935"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9654980"/>
                  </a:ext>
                </a:extLst>
              </a:tr>
              <a:tr h="488107"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4672767"/>
                  </a:ext>
                </a:extLst>
              </a:tr>
              <a:tr h="479003"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3747663"/>
                  </a:ext>
                </a:extLst>
              </a:tr>
              <a:tr h="502824"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14900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47770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9" name="Object 3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8" name="Group 117">
            <a:extLst>
              <a:ext uri="{FF2B5EF4-FFF2-40B4-BE49-F238E27FC236}">
                <a16:creationId xmlns:a16="http://schemas.microsoft.com/office/drawing/2014/main" id="{64870E57-83FB-4A2D-971D-E6518146CCDC}"/>
              </a:ext>
            </a:extLst>
          </p:cNvPr>
          <p:cNvGrpSpPr/>
          <p:nvPr/>
        </p:nvGrpSpPr>
        <p:grpSpPr>
          <a:xfrm>
            <a:off x="-1145219" y="266526"/>
            <a:ext cx="961895" cy="813337"/>
            <a:chOff x="-563998" y="12593663"/>
            <a:chExt cx="460356" cy="660501"/>
          </a:xfrm>
        </p:grpSpPr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2E1EAEC5-308A-4645-8FC5-216F561D3A55}"/>
                </a:ext>
              </a:extLst>
            </p:cNvPr>
            <p:cNvSpPr/>
            <p:nvPr/>
          </p:nvSpPr>
          <p:spPr>
            <a:xfrm>
              <a:off x="-563998" y="12593663"/>
              <a:ext cx="187999" cy="190313"/>
            </a:xfrm>
            <a:prstGeom prst="rect">
              <a:avLst/>
            </a:prstGeom>
            <a:solidFill>
              <a:srgbClr val="E3173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40AE343E-2724-42DB-B455-DC553E1C844D}"/>
                </a:ext>
              </a:extLst>
            </p:cNvPr>
            <p:cNvSpPr/>
            <p:nvPr/>
          </p:nvSpPr>
          <p:spPr>
            <a:xfrm>
              <a:off x="-291641" y="12593663"/>
              <a:ext cx="187999" cy="190313"/>
            </a:xfrm>
            <a:prstGeom prst="rect">
              <a:avLst/>
            </a:prstGeom>
            <a:solidFill>
              <a:srgbClr val="F3899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3E39A00B-60CE-4AA2-9DDD-48DAD99D8BCA}"/>
                </a:ext>
              </a:extLst>
            </p:cNvPr>
            <p:cNvSpPr/>
            <p:nvPr/>
          </p:nvSpPr>
          <p:spPr>
            <a:xfrm>
              <a:off x="-563998" y="12820920"/>
              <a:ext cx="187999" cy="190313"/>
            </a:xfrm>
            <a:prstGeom prst="rect">
              <a:avLst/>
            </a:prstGeom>
            <a:solidFill>
              <a:srgbClr val="62C2F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572C110E-770E-4615-80B0-3197237704EB}"/>
                </a:ext>
              </a:extLst>
            </p:cNvPr>
            <p:cNvSpPr/>
            <p:nvPr/>
          </p:nvSpPr>
          <p:spPr>
            <a:xfrm>
              <a:off x="-291641" y="12820920"/>
              <a:ext cx="187999" cy="190313"/>
            </a:xfrm>
            <a:prstGeom prst="rect">
              <a:avLst/>
            </a:prstGeom>
            <a:solidFill>
              <a:srgbClr val="B6E2F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E969DF1D-8B55-47C3-B424-7DB460D557CD}"/>
                </a:ext>
              </a:extLst>
            </p:cNvPr>
            <p:cNvSpPr/>
            <p:nvPr/>
          </p:nvSpPr>
          <p:spPr>
            <a:xfrm>
              <a:off x="-563998" y="13063851"/>
              <a:ext cx="187999" cy="190313"/>
            </a:xfrm>
            <a:prstGeom prst="rect">
              <a:avLst/>
            </a:prstGeom>
            <a:solidFill>
              <a:sysClr val="window" lastClr="FFFFFF">
                <a:lumMod val="6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C0159F37-02C2-43E0-A018-75005538EFAE}"/>
                </a:ext>
              </a:extLst>
            </p:cNvPr>
            <p:cNvSpPr/>
            <p:nvPr/>
          </p:nvSpPr>
          <p:spPr>
            <a:xfrm>
              <a:off x="-291641" y="13063851"/>
              <a:ext cx="187999" cy="190313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DD5E2A93-1F13-46E2-A21F-3F2170931477}"/>
              </a:ext>
            </a:extLst>
          </p:cNvPr>
          <p:cNvSpPr txBox="1">
            <a:spLocks/>
          </p:cNvSpPr>
          <p:nvPr/>
        </p:nvSpPr>
        <p:spPr>
          <a:xfrm>
            <a:off x="383507" y="471858"/>
            <a:ext cx="3600000" cy="170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Graphik" panose="020B0503030202060203" pitchFamily="34" charset="0"/>
              </a:rPr>
              <a:t>Implementatieplan</a:t>
            </a:r>
            <a:endParaRPr kumimoji="0" lang="nl-NL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69" name="Text Placeholder 3">
            <a:extLst>
              <a:ext uri="{FF2B5EF4-FFF2-40B4-BE49-F238E27FC236}">
                <a16:creationId xmlns:a16="http://schemas.microsoft.com/office/drawing/2014/main" id="{F2D1DEBD-28ED-4D6F-B4B2-F1EBCC754FDB}"/>
              </a:ext>
            </a:extLst>
          </p:cNvPr>
          <p:cNvSpPr txBox="1">
            <a:spLocks/>
          </p:cNvSpPr>
          <p:nvPr/>
        </p:nvSpPr>
        <p:spPr>
          <a:xfrm>
            <a:off x="383507" y="301617"/>
            <a:ext cx="3600000" cy="170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nl-NL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Graphik Bold" panose="020B0803030202060203" pitchFamily="34" charset="0"/>
              </a:rPr>
              <a:t>AANPAK OP MAA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95FA336-5102-4615-9F7D-FB5B62400938}"/>
              </a:ext>
            </a:extLst>
          </p:cNvPr>
          <p:cNvSpPr/>
          <p:nvPr/>
        </p:nvSpPr>
        <p:spPr>
          <a:xfrm>
            <a:off x="-576140" y="1144657"/>
            <a:ext cx="392816" cy="234350"/>
          </a:xfrm>
          <a:prstGeom prst="rect">
            <a:avLst/>
          </a:prstGeom>
          <a:solidFill>
            <a:srgbClr val="44546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59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49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aphicFrame>
        <p:nvGraphicFramePr>
          <p:cNvPr id="3" name="Tabel 2">
            <a:extLst>
              <a:ext uri="{FF2B5EF4-FFF2-40B4-BE49-F238E27FC236}">
                <a16:creationId xmlns:a16="http://schemas.microsoft.com/office/drawing/2014/main" id="{B40CA700-FB1D-49AA-8E6F-78C269419B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843025"/>
              </p:ext>
            </p:extLst>
          </p:nvPr>
        </p:nvGraphicFramePr>
        <p:xfrm>
          <a:off x="438539" y="1207740"/>
          <a:ext cx="11105759" cy="37605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7291">
                  <a:extLst>
                    <a:ext uri="{9D8B030D-6E8A-4147-A177-3AD203B41FA5}">
                      <a16:colId xmlns:a16="http://schemas.microsoft.com/office/drawing/2014/main" val="875166088"/>
                    </a:ext>
                  </a:extLst>
                </a:gridCol>
                <a:gridCol w="2816156">
                  <a:extLst>
                    <a:ext uri="{9D8B030D-6E8A-4147-A177-3AD203B41FA5}">
                      <a16:colId xmlns:a16="http://schemas.microsoft.com/office/drawing/2014/main" val="3493544988"/>
                    </a:ext>
                  </a:extLst>
                </a:gridCol>
                <a:gridCol w="2816156">
                  <a:extLst>
                    <a:ext uri="{9D8B030D-6E8A-4147-A177-3AD203B41FA5}">
                      <a16:colId xmlns:a16="http://schemas.microsoft.com/office/drawing/2014/main" val="637724973"/>
                    </a:ext>
                  </a:extLst>
                </a:gridCol>
                <a:gridCol w="2816156">
                  <a:extLst>
                    <a:ext uri="{9D8B030D-6E8A-4147-A177-3AD203B41FA5}">
                      <a16:colId xmlns:a16="http://schemas.microsoft.com/office/drawing/2014/main" val="1271590937"/>
                    </a:ext>
                  </a:extLst>
                </a:gridCol>
              </a:tblGrid>
              <a:tr h="469891">
                <a:tc>
                  <a:txBody>
                    <a:bodyPr/>
                    <a:lstStyle/>
                    <a:p>
                      <a:r>
                        <a:rPr lang="nl-NL"/>
                        <a:t>Wijziging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/>
                        <a:t>Actiepunt(en)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/>
                        <a:t>Betrokkene(n)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/>
                        <a:t>Deadline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6432984"/>
                  </a:ext>
                </a:extLst>
              </a:tr>
              <a:tr h="469891"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0383593"/>
                  </a:ext>
                </a:extLst>
              </a:tr>
              <a:tr h="469891"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7443798"/>
                  </a:ext>
                </a:extLst>
              </a:tr>
              <a:tr h="469891"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1589571"/>
                  </a:ext>
                </a:extLst>
              </a:tr>
              <a:tr h="469891"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3478084"/>
                  </a:ext>
                </a:extLst>
              </a:tr>
              <a:tr h="471264"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8076285"/>
                  </a:ext>
                </a:extLst>
              </a:tr>
              <a:tr h="469891"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300020"/>
                  </a:ext>
                </a:extLst>
              </a:tr>
              <a:tr h="469891"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95789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55745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9" name="Object 3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8" name="Group 117">
            <a:extLst>
              <a:ext uri="{FF2B5EF4-FFF2-40B4-BE49-F238E27FC236}">
                <a16:creationId xmlns:a16="http://schemas.microsoft.com/office/drawing/2014/main" id="{64870E57-83FB-4A2D-971D-E6518146CCDC}"/>
              </a:ext>
            </a:extLst>
          </p:cNvPr>
          <p:cNvGrpSpPr/>
          <p:nvPr/>
        </p:nvGrpSpPr>
        <p:grpSpPr>
          <a:xfrm>
            <a:off x="-1145219" y="266526"/>
            <a:ext cx="961895" cy="813337"/>
            <a:chOff x="-563998" y="12593663"/>
            <a:chExt cx="460356" cy="660501"/>
          </a:xfrm>
        </p:grpSpPr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2E1EAEC5-308A-4645-8FC5-216F561D3A55}"/>
                </a:ext>
              </a:extLst>
            </p:cNvPr>
            <p:cNvSpPr/>
            <p:nvPr/>
          </p:nvSpPr>
          <p:spPr>
            <a:xfrm>
              <a:off x="-563998" y="12593663"/>
              <a:ext cx="187999" cy="190313"/>
            </a:xfrm>
            <a:prstGeom prst="rect">
              <a:avLst/>
            </a:prstGeom>
            <a:solidFill>
              <a:srgbClr val="E3173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40AE343E-2724-42DB-B455-DC553E1C844D}"/>
                </a:ext>
              </a:extLst>
            </p:cNvPr>
            <p:cNvSpPr/>
            <p:nvPr/>
          </p:nvSpPr>
          <p:spPr>
            <a:xfrm>
              <a:off x="-291641" y="12593663"/>
              <a:ext cx="187999" cy="190313"/>
            </a:xfrm>
            <a:prstGeom prst="rect">
              <a:avLst/>
            </a:prstGeom>
            <a:solidFill>
              <a:srgbClr val="F3899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3E39A00B-60CE-4AA2-9DDD-48DAD99D8BCA}"/>
                </a:ext>
              </a:extLst>
            </p:cNvPr>
            <p:cNvSpPr/>
            <p:nvPr/>
          </p:nvSpPr>
          <p:spPr>
            <a:xfrm>
              <a:off x="-563998" y="12820920"/>
              <a:ext cx="187999" cy="190313"/>
            </a:xfrm>
            <a:prstGeom prst="rect">
              <a:avLst/>
            </a:prstGeom>
            <a:solidFill>
              <a:srgbClr val="62C2F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572C110E-770E-4615-80B0-3197237704EB}"/>
                </a:ext>
              </a:extLst>
            </p:cNvPr>
            <p:cNvSpPr/>
            <p:nvPr/>
          </p:nvSpPr>
          <p:spPr>
            <a:xfrm>
              <a:off x="-291641" y="12820920"/>
              <a:ext cx="187999" cy="190313"/>
            </a:xfrm>
            <a:prstGeom prst="rect">
              <a:avLst/>
            </a:prstGeom>
            <a:solidFill>
              <a:srgbClr val="B6E2F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E969DF1D-8B55-47C3-B424-7DB460D557CD}"/>
                </a:ext>
              </a:extLst>
            </p:cNvPr>
            <p:cNvSpPr/>
            <p:nvPr/>
          </p:nvSpPr>
          <p:spPr>
            <a:xfrm>
              <a:off x="-563998" y="13063851"/>
              <a:ext cx="187999" cy="190313"/>
            </a:xfrm>
            <a:prstGeom prst="rect">
              <a:avLst/>
            </a:prstGeom>
            <a:solidFill>
              <a:sysClr val="window" lastClr="FFFFFF">
                <a:lumMod val="6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C0159F37-02C2-43E0-A018-75005538EFAE}"/>
                </a:ext>
              </a:extLst>
            </p:cNvPr>
            <p:cNvSpPr/>
            <p:nvPr/>
          </p:nvSpPr>
          <p:spPr>
            <a:xfrm>
              <a:off x="-291641" y="13063851"/>
              <a:ext cx="187999" cy="190313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DD5E2A93-1F13-46E2-A21F-3F2170931477}"/>
              </a:ext>
            </a:extLst>
          </p:cNvPr>
          <p:cNvSpPr txBox="1">
            <a:spLocks/>
          </p:cNvSpPr>
          <p:nvPr/>
        </p:nvSpPr>
        <p:spPr>
          <a:xfrm>
            <a:off x="383507" y="471858"/>
            <a:ext cx="3600000" cy="170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nl-NL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69" name="Text Placeholder 3">
            <a:extLst>
              <a:ext uri="{FF2B5EF4-FFF2-40B4-BE49-F238E27FC236}">
                <a16:creationId xmlns:a16="http://schemas.microsoft.com/office/drawing/2014/main" id="{F2D1DEBD-28ED-4D6F-B4B2-F1EBCC754FDB}"/>
              </a:ext>
            </a:extLst>
          </p:cNvPr>
          <p:cNvSpPr txBox="1">
            <a:spLocks/>
          </p:cNvSpPr>
          <p:nvPr/>
        </p:nvSpPr>
        <p:spPr>
          <a:xfrm>
            <a:off x="383507" y="301617"/>
            <a:ext cx="3600000" cy="170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Graphik Bold" panose="020B0803030202060203" pitchFamily="34" charset="0"/>
              </a:rPr>
              <a:t>IMPLEMENTATIEPLAN PREFERENT LKS PROCES DUCKSTAD</a:t>
            </a:r>
            <a:endParaRPr kumimoji="0" lang="nl-NL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Graphik Bold" panose="020B0803030202060203" pitchFamily="34" charset="0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95FA336-5102-4615-9F7D-FB5B62400938}"/>
              </a:ext>
            </a:extLst>
          </p:cNvPr>
          <p:cNvSpPr/>
          <p:nvPr/>
        </p:nvSpPr>
        <p:spPr>
          <a:xfrm>
            <a:off x="-576140" y="1144657"/>
            <a:ext cx="392816" cy="234350"/>
          </a:xfrm>
          <a:prstGeom prst="rect">
            <a:avLst/>
          </a:prstGeom>
          <a:solidFill>
            <a:srgbClr val="44546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59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49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33" name="Rectangle 1">
            <a:extLst>
              <a:ext uri="{FF2B5EF4-FFF2-40B4-BE49-F238E27FC236}">
                <a16:creationId xmlns:a16="http://schemas.microsoft.com/office/drawing/2014/main" id="{06CE5797-DEC8-4A69-A0EA-25F9360F5A1E}"/>
              </a:ext>
            </a:extLst>
          </p:cNvPr>
          <p:cNvSpPr/>
          <p:nvPr/>
        </p:nvSpPr>
        <p:spPr>
          <a:xfrm>
            <a:off x="383507" y="822434"/>
            <a:ext cx="7097163" cy="2343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ACHTERGRONDINFORMATIE &amp; UITDAGING</a:t>
            </a:r>
          </a:p>
        </p:txBody>
      </p:sp>
      <p:sp>
        <p:nvSpPr>
          <p:cNvPr id="34" name="Rectangle 17">
            <a:extLst>
              <a:ext uri="{FF2B5EF4-FFF2-40B4-BE49-F238E27FC236}">
                <a16:creationId xmlns:a16="http://schemas.microsoft.com/office/drawing/2014/main" id="{D046C566-E7B6-4D0A-A0BC-46C641556C0A}"/>
              </a:ext>
            </a:extLst>
          </p:cNvPr>
          <p:cNvSpPr/>
          <p:nvPr/>
        </p:nvSpPr>
        <p:spPr>
          <a:xfrm>
            <a:off x="383504" y="1827742"/>
            <a:ext cx="7097163" cy="2343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TE IMPLEMENTEREN WIJZIGINGEN (zie </a:t>
            </a:r>
            <a:r>
              <a:rPr kumimoji="0" lang="nl-NL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vershillenanalyse</a:t>
            </a: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)</a:t>
            </a:r>
          </a:p>
        </p:txBody>
      </p:sp>
      <p:sp>
        <p:nvSpPr>
          <p:cNvPr id="36" name="Rectangle 19">
            <a:extLst>
              <a:ext uri="{FF2B5EF4-FFF2-40B4-BE49-F238E27FC236}">
                <a16:creationId xmlns:a16="http://schemas.microsoft.com/office/drawing/2014/main" id="{A86F918E-406F-4D3A-9972-F34AF6745E4C}"/>
              </a:ext>
            </a:extLst>
          </p:cNvPr>
          <p:cNvSpPr/>
          <p:nvPr/>
        </p:nvSpPr>
        <p:spPr>
          <a:xfrm>
            <a:off x="385443" y="3164516"/>
            <a:ext cx="3456000" cy="2343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SUCCES INDICATOREN</a:t>
            </a:r>
          </a:p>
        </p:txBody>
      </p:sp>
      <p:sp>
        <p:nvSpPr>
          <p:cNvPr id="37" name="Rectangle 20">
            <a:extLst>
              <a:ext uri="{FF2B5EF4-FFF2-40B4-BE49-F238E27FC236}">
                <a16:creationId xmlns:a16="http://schemas.microsoft.com/office/drawing/2014/main" id="{4A07F27F-CCF1-457D-80A0-0866E4D6F9B8}"/>
              </a:ext>
            </a:extLst>
          </p:cNvPr>
          <p:cNvSpPr/>
          <p:nvPr/>
        </p:nvSpPr>
        <p:spPr>
          <a:xfrm>
            <a:off x="4024667" y="3164516"/>
            <a:ext cx="3456000" cy="2343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RISICO’S</a:t>
            </a:r>
          </a:p>
        </p:txBody>
      </p:sp>
      <p:sp>
        <p:nvSpPr>
          <p:cNvPr id="38" name="Rectangle 27">
            <a:extLst>
              <a:ext uri="{FF2B5EF4-FFF2-40B4-BE49-F238E27FC236}">
                <a16:creationId xmlns:a16="http://schemas.microsoft.com/office/drawing/2014/main" id="{49AE2FC9-0487-4EFA-87E7-83E0D747FA36}"/>
              </a:ext>
            </a:extLst>
          </p:cNvPr>
          <p:cNvSpPr/>
          <p:nvPr/>
        </p:nvSpPr>
        <p:spPr>
          <a:xfrm>
            <a:off x="383505" y="1062768"/>
            <a:ext cx="7097162" cy="71352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base"/>
            <a:r>
              <a:rPr lang="nl-NL" sz="1100" i="1" dirty="0">
                <a:solidFill>
                  <a:schemeClr val="tx1"/>
                </a:solidFill>
              </a:rPr>
              <a:t>Voorloper blijven in LKS uitvoering, waar mogelijk huidige proces verder verbeteren</a:t>
            </a:r>
            <a:r>
              <a:rPr lang="nl-NL" sz="1100" dirty="0">
                <a:solidFill>
                  <a:schemeClr val="tx1"/>
                </a:solidFill>
              </a:rPr>
              <a:t>​</a:t>
            </a:r>
          </a:p>
          <a:p>
            <a:pPr fontAlgn="base"/>
            <a:r>
              <a:rPr lang="nl-NL" sz="1100" i="1" dirty="0">
                <a:solidFill>
                  <a:schemeClr val="tx1"/>
                </a:solidFill>
              </a:rPr>
              <a:t>Mogelijkheden verzilveren om huidige handmatige berekeningen (en daarmee samenhangende controles) te verminderen, door verder te automatiseren. </a:t>
            </a:r>
          </a:p>
          <a:p>
            <a:pPr fontAlgn="base"/>
            <a:r>
              <a:rPr lang="nl-NL" sz="1100" i="1" dirty="0">
                <a:solidFill>
                  <a:schemeClr val="tx1"/>
                </a:solidFill>
              </a:rPr>
              <a:t>Doorlooptijd verlagen </a:t>
            </a:r>
            <a:r>
              <a:rPr lang="nl-NL" sz="1100" dirty="0">
                <a:solidFill>
                  <a:schemeClr val="tx1"/>
                </a:solidFill>
              </a:rPr>
              <a:t>​</a:t>
            </a:r>
            <a:endParaRPr lang="nl-NL" dirty="0">
              <a:solidFill>
                <a:schemeClr val="tx1"/>
              </a:solidFill>
            </a:endParaRPr>
          </a:p>
        </p:txBody>
      </p:sp>
      <p:sp>
        <p:nvSpPr>
          <p:cNvPr id="40" name="Rectangle 27">
            <a:extLst>
              <a:ext uri="{FF2B5EF4-FFF2-40B4-BE49-F238E27FC236}">
                <a16:creationId xmlns:a16="http://schemas.microsoft.com/office/drawing/2014/main" id="{512181B8-1021-4D5D-9FA1-D16DB86B295B}"/>
              </a:ext>
            </a:extLst>
          </p:cNvPr>
          <p:cNvSpPr/>
          <p:nvPr/>
        </p:nvSpPr>
        <p:spPr>
          <a:xfrm>
            <a:off x="383503" y="2062092"/>
            <a:ext cx="7097162" cy="113123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marR="0" lvl="0" indent="-2286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nl-NL" sz="1100" i="1" dirty="0">
                <a:solidFill>
                  <a:schemeClr val="tx1"/>
                </a:solidFill>
                <a:latin typeface="Graphik"/>
              </a:rPr>
              <a:t>Aanvraagformulier als leidraad voor informatieverzameling</a:t>
            </a:r>
          </a:p>
          <a:p>
            <a:pPr marL="228600" marR="0" lvl="0" indent="-2286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AutoNum type="arabicPeriod" startAt="2"/>
              <a:tabLst/>
              <a:defRPr/>
            </a:pPr>
            <a:r>
              <a:rPr lang="nl-NL" sz="1100" i="1" dirty="0">
                <a:solidFill>
                  <a:schemeClr val="tx1"/>
                </a:solidFill>
                <a:latin typeface="Graphik"/>
              </a:rPr>
              <a:t>Opnemen schriftelijke communicatie naar werkzoekenden in werkwijze.</a:t>
            </a:r>
          </a:p>
          <a:p>
            <a:pPr marL="228600" marR="0" lvl="0" indent="-2286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AutoNum type="arabicPeriod" startAt="2"/>
              <a:tabLst/>
              <a:defRPr/>
            </a:pPr>
            <a:r>
              <a:rPr lang="nl-NL" sz="1100" i="1" dirty="0">
                <a:solidFill>
                  <a:schemeClr val="tx1"/>
                </a:solidFill>
                <a:latin typeface="Graphik"/>
              </a:rPr>
              <a:t>Rappelleren opnemen in het werkproces. </a:t>
            </a:r>
          </a:p>
          <a:p>
            <a:pPr marL="228600" marR="0" lvl="0" indent="-2286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AutoNum type="arabicPeriod" startAt="2"/>
              <a:tabLst/>
              <a:defRPr/>
            </a:pPr>
            <a:r>
              <a:rPr lang="nl-NL" sz="1100" i="1" dirty="0">
                <a:solidFill>
                  <a:schemeClr val="tx1"/>
                </a:solidFill>
                <a:latin typeface="Graphik"/>
              </a:rPr>
              <a:t>Formaliseren signaleringsmoment einde contract / loonwaarde</a:t>
            </a:r>
          </a:p>
          <a:p>
            <a:pPr marL="228600" marR="0" lvl="0" indent="-2286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AutoNum type="arabicPeriod" startAt="2"/>
              <a:tabLst/>
              <a:defRPr/>
            </a:pPr>
            <a:r>
              <a:rPr lang="nl-NL" sz="1100" i="1" dirty="0">
                <a:solidFill>
                  <a:schemeClr val="tx1"/>
                </a:solidFill>
                <a:latin typeface="Graphik"/>
              </a:rPr>
              <a:t>Implementeren communicatie-set</a:t>
            </a:r>
          </a:p>
        </p:txBody>
      </p:sp>
      <p:sp>
        <p:nvSpPr>
          <p:cNvPr id="42" name="Rectangle 27">
            <a:extLst>
              <a:ext uri="{FF2B5EF4-FFF2-40B4-BE49-F238E27FC236}">
                <a16:creationId xmlns:a16="http://schemas.microsoft.com/office/drawing/2014/main" id="{71DB7BD1-A61F-4708-BE60-DD6233961695}"/>
              </a:ext>
            </a:extLst>
          </p:cNvPr>
          <p:cNvSpPr/>
          <p:nvPr/>
        </p:nvSpPr>
        <p:spPr>
          <a:xfrm>
            <a:off x="385444" y="3399381"/>
            <a:ext cx="3456000" cy="113123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100" b="0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Minder handmatig werk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1100" i="1" dirty="0">
                <a:solidFill>
                  <a:schemeClr val="tx1"/>
                </a:solidFill>
                <a:latin typeface="Graphik"/>
              </a:rPr>
              <a:t>Tevredenheid medewerkers die LKS uitvoeren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1100" i="1" dirty="0">
                <a:solidFill>
                  <a:schemeClr val="tx1"/>
                </a:solidFill>
                <a:latin typeface="Graphik"/>
              </a:rPr>
              <a:t>Positieve feedback van werkgevers en werkzoekenden</a:t>
            </a:r>
            <a:endParaRPr kumimoji="0" lang="nl-NL" sz="1100" b="0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100" b="0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43" name="Rectangle 27">
            <a:extLst>
              <a:ext uri="{FF2B5EF4-FFF2-40B4-BE49-F238E27FC236}">
                <a16:creationId xmlns:a16="http://schemas.microsoft.com/office/drawing/2014/main" id="{1C189FB8-1858-40A9-9478-9D74864D427F}"/>
              </a:ext>
            </a:extLst>
          </p:cNvPr>
          <p:cNvSpPr/>
          <p:nvPr/>
        </p:nvSpPr>
        <p:spPr>
          <a:xfrm>
            <a:off x="4024667" y="3406687"/>
            <a:ext cx="3456000" cy="113123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1100" i="1" dirty="0">
                <a:solidFill>
                  <a:schemeClr val="tx1"/>
                </a:solidFill>
                <a:latin typeface="Graphik"/>
              </a:rPr>
              <a:t>Beschikbaarheid afdeling functioneel beheer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1100" i="1" dirty="0">
                <a:solidFill>
                  <a:schemeClr val="tx1"/>
                </a:solidFill>
                <a:latin typeface="Graphik"/>
              </a:rPr>
              <a:t>Meekrijgen afdeling Inkomen 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l-NL" sz="1100" dirty="0">
              <a:solidFill>
                <a:schemeClr val="tx1"/>
              </a:solidFill>
              <a:latin typeface="Graphik"/>
            </a:endParaRPr>
          </a:p>
        </p:txBody>
      </p:sp>
      <p:sp>
        <p:nvSpPr>
          <p:cNvPr id="44" name="Rectangle 1">
            <a:extLst>
              <a:ext uri="{FF2B5EF4-FFF2-40B4-BE49-F238E27FC236}">
                <a16:creationId xmlns:a16="http://schemas.microsoft.com/office/drawing/2014/main" id="{4B38944C-C821-42D6-9257-4D50E105EF5E}"/>
              </a:ext>
            </a:extLst>
          </p:cNvPr>
          <p:cNvSpPr/>
          <p:nvPr/>
        </p:nvSpPr>
        <p:spPr>
          <a:xfrm>
            <a:off x="7654836" y="782048"/>
            <a:ext cx="4144607" cy="2343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MIJLPALEN</a:t>
            </a:r>
          </a:p>
        </p:txBody>
      </p:sp>
      <p:sp>
        <p:nvSpPr>
          <p:cNvPr id="46" name="Rectangle 1">
            <a:extLst>
              <a:ext uri="{FF2B5EF4-FFF2-40B4-BE49-F238E27FC236}">
                <a16:creationId xmlns:a16="http://schemas.microsoft.com/office/drawing/2014/main" id="{9E5C4485-B7F0-4686-8917-A9BF9A3DFA7E}"/>
              </a:ext>
            </a:extLst>
          </p:cNvPr>
          <p:cNvSpPr/>
          <p:nvPr/>
        </p:nvSpPr>
        <p:spPr>
          <a:xfrm>
            <a:off x="7663891" y="3922678"/>
            <a:ext cx="4144607" cy="2343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PROJECTEAM</a:t>
            </a:r>
          </a:p>
        </p:txBody>
      </p:sp>
      <p:graphicFrame>
        <p:nvGraphicFramePr>
          <p:cNvPr id="2" name="Tabel 1">
            <a:extLst>
              <a:ext uri="{FF2B5EF4-FFF2-40B4-BE49-F238E27FC236}">
                <a16:creationId xmlns:a16="http://schemas.microsoft.com/office/drawing/2014/main" id="{60B0A977-D1FC-454C-B624-293B730E58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3801591"/>
              </p:ext>
            </p:extLst>
          </p:nvPr>
        </p:nvGraphicFramePr>
        <p:xfrm>
          <a:off x="7663891" y="4160177"/>
          <a:ext cx="4144608" cy="2357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26354">
                  <a:extLst>
                    <a:ext uri="{9D8B030D-6E8A-4147-A177-3AD203B41FA5}">
                      <a16:colId xmlns:a16="http://schemas.microsoft.com/office/drawing/2014/main" val="2287907323"/>
                    </a:ext>
                  </a:extLst>
                </a:gridCol>
                <a:gridCol w="1218254">
                  <a:extLst>
                    <a:ext uri="{9D8B030D-6E8A-4147-A177-3AD203B41FA5}">
                      <a16:colId xmlns:a16="http://schemas.microsoft.com/office/drawing/2014/main" val="1903952502"/>
                    </a:ext>
                  </a:extLst>
                </a:gridCol>
              </a:tblGrid>
              <a:tr h="432307">
                <a:tc>
                  <a:txBody>
                    <a:bodyPr/>
                    <a:lstStyle/>
                    <a:p>
                      <a:r>
                        <a:rPr lang="nl-NL" sz="1400" dirty="0"/>
                        <a:t>Ro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dirty="0"/>
                        <a:t>Naa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3676494"/>
                  </a:ext>
                </a:extLst>
              </a:tr>
              <a:tr h="530022">
                <a:tc>
                  <a:txBody>
                    <a:bodyPr/>
                    <a:lstStyle/>
                    <a:p>
                      <a:r>
                        <a:rPr lang="nl-NL" sz="1100" dirty="0"/>
                        <a:t>Coördinatie/ afstemming M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Donald Du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8902595"/>
                  </a:ext>
                </a:extLst>
              </a:tr>
              <a:tr h="481182">
                <a:tc>
                  <a:txBody>
                    <a:bodyPr/>
                    <a:lstStyle/>
                    <a:p>
                      <a:r>
                        <a:rPr lang="nl-NL" sz="1100" dirty="0"/>
                        <a:t>Implementatie ICT aspec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Kwik, Kwek en Kwa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3842275"/>
                  </a:ext>
                </a:extLst>
              </a:tr>
              <a:tr h="432307">
                <a:tc>
                  <a:txBody>
                    <a:bodyPr/>
                    <a:lstStyle/>
                    <a:p>
                      <a:r>
                        <a:rPr lang="nl-NL" sz="1100" dirty="0"/>
                        <a:t>Implementatie communicatie-s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Katrien Du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1623126"/>
                  </a:ext>
                </a:extLst>
              </a:tr>
              <a:tr h="481182">
                <a:tc>
                  <a:txBody>
                    <a:bodyPr/>
                    <a:lstStyle/>
                    <a:p>
                      <a:r>
                        <a:rPr lang="nl-NL" sz="1100" dirty="0"/>
                        <a:t>Communicat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Dagobert Du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6858694"/>
                  </a:ext>
                </a:extLst>
              </a:tr>
            </a:tbl>
          </a:graphicData>
        </a:graphic>
      </p:graphicFrame>
      <p:graphicFrame>
        <p:nvGraphicFramePr>
          <p:cNvPr id="3" name="Tabel 2">
            <a:extLst>
              <a:ext uri="{FF2B5EF4-FFF2-40B4-BE49-F238E27FC236}">
                <a16:creationId xmlns:a16="http://schemas.microsoft.com/office/drawing/2014/main" id="{B0662F38-1D56-47E0-953C-BDB9856E2E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7162400"/>
              </p:ext>
            </p:extLst>
          </p:nvPr>
        </p:nvGraphicFramePr>
        <p:xfrm>
          <a:off x="378296" y="4568718"/>
          <a:ext cx="7097162" cy="2014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4616">
                  <a:extLst>
                    <a:ext uri="{9D8B030D-6E8A-4147-A177-3AD203B41FA5}">
                      <a16:colId xmlns:a16="http://schemas.microsoft.com/office/drawing/2014/main" val="2571499201"/>
                    </a:ext>
                  </a:extLst>
                </a:gridCol>
                <a:gridCol w="5932546">
                  <a:extLst>
                    <a:ext uri="{9D8B030D-6E8A-4147-A177-3AD203B41FA5}">
                      <a16:colId xmlns:a16="http://schemas.microsoft.com/office/drawing/2014/main" val="611252300"/>
                    </a:ext>
                  </a:extLst>
                </a:gridCol>
              </a:tblGrid>
              <a:tr h="389138">
                <a:tc gridSpan="2">
                  <a:txBody>
                    <a:bodyPr/>
                    <a:lstStyle/>
                    <a:p>
                      <a:pPr algn="ctr"/>
                      <a:r>
                        <a:rPr lang="nl-NL" sz="1400" dirty="0"/>
                        <a:t>IMPAC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5575822"/>
                  </a:ext>
                </a:extLst>
              </a:tr>
              <a:tr h="385830">
                <a:tc>
                  <a:txBody>
                    <a:bodyPr/>
                    <a:lstStyle/>
                    <a:p>
                      <a:r>
                        <a:rPr lang="nl-NL" sz="1100" b="1" dirty="0"/>
                        <a:t>Organisat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100" i="1" dirty="0"/>
                        <a:t>Laag. Huidige rollen en verantwoordelijkheden blijven zoals ze zijn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4429064"/>
                  </a:ext>
                </a:extLst>
              </a:tr>
              <a:tr h="385830">
                <a:tc>
                  <a:txBody>
                    <a:bodyPr/>
                    <a:lstStyle/>
                    <a:p>
                      <a:r>
                        <a:rPr lang="nl-NL" sz="1100" b="1" dirty="0"/>
                        <a:t>Pro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100" i="1" dirty="0"/>
                        <a:t>Laag: procesmatige wijzigingen zijn gemakkelijk inpasba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2152020"/>
                  </a:ext>
                </a:extLst>
              </a:tr>
              <a:tr h="385830">
                <a:tc>
                  <a:txBody>
                    <a:bodyPr/>
                    <a:lstStyle/>
                    <a:p>
                      <a:r>
                        <a:rPr lang="nl-NL" sz="1100" b="1" dirty="0"/>
                        <a:t>System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100" i="1" dirty="0"/>
                        <a:t>Gemiddeld: LKS implementatie laten samenlopen met al bestaande initiatieven voor verdere automatiser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572879"/>
                  </a:ext>
                </a:extLst>
              </a:tr>
              <a:tr h="385830">
                <a:tc>
                  <a:txBody>
                    <a:bodyPr/>
                    <a:lstStyle/>
                    <a:p>
                      <a:r>
                        <a:rPr lang="nl-NL" sz="1100" b="1" dirty="0"/>
                        <a:t>Mens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100" i="1" dirty="0"/>
                        <a:t>Gemiddeld: zorgen dat  met name werkconsulenten goed geïnformeerd zijn en kunnen wennen aan de veranderde werkwijz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5326706"/>
                  </a:ext>
                </a:extLst>
              </a:tr>
            </a:tbl>
          </a:graphicData>
        </a:graphic>
      </p:graphicFrame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9D2129CF-B483-4964-A536-3FFD5F5313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7546891"/>
              </p:ext>
            </p:extLst>
          </p:nvPr>
        </p:nvGraphicFramePr>
        <p:xfrm>
          <a:off x="7673218" y="1012694"/>
          <a:ext cx="4135554" cy="26906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8478">
                  <a:extLst>
                    <a:ext uri="{9D8B030D-6E8A-4147-A177-3AD203B41FA5}">
                      <a16:colId xmlns:a16="http://schemas.microsoft.com/office/drawing/2014/main" val="3472862417"/>
                    </a:ext>
                  </a:extLst>
                </a:gridCol>
                <a:gridCol w="1770434">
                  <a:extLst>
                    <a:ext uri="{9D8B030D-6E8A-4147-A177-3AD203B41FA5}">
                      <a16:colId xmlns:a16="http://schemas.microsoft.com/office/drawing/2014/main" val="3035727734"/>
                    </a:ext>
                  </a:extLst>
                </a:gridCol>
                <a:gridCol w="826642">
                  <a:extLst>
                    <a:ext uri="{9D8B030D-6E8A-4147-A177-3AD203B41FA5}">
                      <a16:colId xmlns:a16="http://schemas.microsoft.com/office/drawing/2014/main" val="2425567713"/>
                    </a:ext>
                  </a:extLst>
                </a:gridCol>
              </a:tblGrid>
              <a:tr h="520090">
                <a:tc>
                  <a:txBody>
                    <a:bodyPr/>
                    <a:lstStyle/>
                    <a:p>
                      <a:r>
                        <a:rPr lang="nl-NL" sz="1400" dirty="0"/>
                        <a:t>Mijlpa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dirty="0"/>
                        <a:t>Betrokken/ Aanwezi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400" dirty="0"/>
                        <a:t>Datu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2136185"/>
                  </a:ext>
                </a:extLst>
              </a:tr>
              <a:tr h="333935">
                <a:tc>
                  <a:txBody>
                    <a:bodyPr/>
                    <a:lstStyle/>
                    <a:p>
                      <a:r>
                        <a:rPr lang="nl-NL" sz="1100" dirty="0"/>
                        <a:t>Implementatie voorbereidingen afgero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projectte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25-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9654980"/>
                  </a:ext>
                </a:extLst>
              </a:tr>
              <a:tr h="488107">
                <a:tc>
                  <a:txBody>
                    <a:bodyPr/>
                    <a:lstStyle/>
                    <a:p>
                      <a:r>
                        <a:rPr lang="nl-NL" sz="1100" dirty="0"/>
                        <a:t>Kick of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Projectteam, werkconsulenten, administrat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1/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4672767"/>
                  </a:ext>
                </a:extLst>
              </a:tr>
              <a:tr h="479003">
                <a:tc>
                  <a:txBody>
                    <a:bodyPr/>
                    <a:lstStyle/>
                    <a:p>
                      <a:r>
                        <a:rPr lang="nl-NL" sz="1100" dirty="0"/>
                        <a:t>Start werken volgens preferent pro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Zie kick of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3/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3747663"/>
                  </a:ext>
                </a:extLst>
              </a:tr>
              <a:tr h="502824">
                <a:tc>
                  <a:txBody>
                    <a:bodyPr/>
                    <a:lstStyle/>
                    <a:p>
                      <a:r>
                        <a:rPr lang="nl-NL" sz="1100" dirty="0"/>
                        <a:t>Evaluatieworksh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Zie Kick of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1/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1490028"/>
                  </a:ext>
                </a:extLst>
              </a:tr>
            </a:tbl>
          </a:graphicData>
        </a:graphic>
      </p:graphicFrame>
      <p:sp>
        <p:nvSpPr>
          <p:cNvPr id="5" name="Tekstvak 4">
            <a:extLst>
              <a:ext uri="{FF2B5EF4-FFF2-40B4-BE49-F238E27FC236}">
                <a16:creationId xmlns:a16="http://schemas.microsoft.com/office/drawing/2014/main" id="{D8ED7718-AB1C-41FA-9C1A-C9367B8F4F03}"/>
              </a:ext>
            </a:extLst>
          </p:cNvPr>
          <p:cNvSpPr txBox="1"/>
          <p:nvPr/>
        </p:nvSpPr>
        <p:spPr>
          <a:xfrm>
            <a:off x="9873669" y="199348"/>
            <a:ext cx="1884218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nl-NL" dirty="0"/>
              <a:t>Fictief voorbeeld</a:t>
            </a:r>
          </a:p>
        </p:txBody>
      </p:sp>
    </p:spTree>
    <p:extLst>
      <p:ext uri="{BB962C8B-B14F-4D97-AF65-F5344CB8AC3E}">
        <p14:creationId xmlns:p14="http://schemas.microsoft.com/office/powerpoint/2010/main" val="26105747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9" name="Object 3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8" name="Group 117">
            <a:extLst>
              <a:ext uri="{FF2B5EF4-FFF2-40B4-BE49-F238E27FC236}">
                <a16:creationId xmlns:a16="http://schemas.microsoft.com/office/drawing/2014/main" id="{64870E57-83FB-4A2D-971D-E6518146CCDC}"/>
              </a:ext>
            </a:extLst>
          </p:cNvPr>
          <p:cNvGrpSpPr/>
          <p:nvPr/>
        </p:nvGrpSpPr>
        <p:grpSpPr>
          <a:xfrm>
            <a:off x="-1145219" y="266526"/>
            <a:ext cx="961895" cy="813337"/>
            <a:chOff x="-563998" y="12593663"/>
            <a:chExt cx="460356" cy="660501"/>
          </a:xfrm>
        </p:grpSpPr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2E1EAEC5-308A-4645-8FC5-216F561D3A55}"/>
                </a:ext>
              </a:extLst>
            </p:cNvPr>
            <p:cNvSpPr/>
            <p:nvPr/>
          </p:nvSpPr>
          <p:spPr>
            <a:xfrm>
              <a:off x="-563998" y="12593663"/>
              <a:ext cx="187999" cy="190313"/>
            </a:xfrm>
            <a:prstGeom prst="rect">
              <a:avLst/>
            </a:prstGeom>
            <a:solidFill>
              <a:srgbClr val="E3173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40AE343E-2724-42DB-B455-DC553E1C844D}"/>
                </a:ext>
              </a:extLst>
            </p:cNvPr>
            <p:cNvSpPr/>
            <p:nvPr/>
          </p:nvSpPr>
          <p:spPr>
            <a:xfrm>
              <a:off x="-291641" y="12593663"/>
              <a:ext cx="187999" cy="190313"/>
            </a:xfrm>
            <a:prstGeom prst="rect">
              <a:avLst/>
            </a:prstGeom>
            <a:solidFill>
              <a:srgbClr val="F3899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3E39A00B-60CE-4AA2-9DDD-48DAD99D8BCA}"/>
                </a:ext>
              </a:extLst>
            </p:cNvPr>
            <p:cNvSpPr/>
            <p:nvPr/>
          </p:nvSpPr>
          <p:spPr>
            <a:xfrm>
              <a:off x="-563998" y="12820920"/>
              <a:ext cx="187999" cy="190313"/>
            </a:xfrm>
            <a:prstGeom prst="rect">
              <a:avLst/>
            </a:prstGeom>
            <a:solidFill>
              <a:srgbClr val="62C2F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572C110E-770E-4615-80B0-3197237704EB}"/>
                </a:ext>
              </a:extLst>
            </p:cNvPr>
            <p:cNvSpPr/>
            <p:nvPr/>
          </p:nvSpPr>
          <p:spPr>
            <a:xfrm>
              <a:off x="-291641" y="12820920"/>
              <a:ext cx="187999" cy="190313"/>
            </a:xfrm>
            <a:prstGeom prst="rect">
              <a:avLst/>
            </a:prstGeom>
            <a:solidFill>
              <a:srgbClr val="B6E2F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E969DF1D-8B55-47C3-B424-7DB460D557CD}"/>
                </a:ext>
              </a:extLst>
            </p:cNvPr>
            <p:cNvSpPr/>
            <p:nvPr/>
          </p:nvSpPr>
          <p:spPr>
            <a:xfrm>
              <a:off x="-563998" y="13063851"/>
              <a:ext cx="187999" cy="190313"/>
            </a:xfrm>
            <a:prstGeom prst="rect">
              <a:avLst/>
            </a:prstGeom>
            <a:solidFill>
              <a:sysClr val="window" lastClr="FFFFFF">
                <a:lumMod val="6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C0159F37-02C2-43E0-A018-75005538EFAE}"/>
                </a:ext>
              </a:extLst>
            </p:cNvPr>
            <p:cNvSpPr/>
            <p:nvPr/>
          </p:nvSpPr>
          <p:spPr>
            <a:xfrm>
              <a:off x="-291641" y="13063851"/>
              <a:ext cx="187999" cy="190313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591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494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DD5E2A93-1F13-46E2-A21F-3F2170931477}"/>
              </a:ext>
            </a:extLst>
          </p:cNvPr>
          <p:cNvSpPr txBox="1">
            <a:spLocks/>
          </p:cNvSpPr>
          <p:nvPr/>
        </p:nvSpPr>
        <p:spPr>
          <a:xfrm>
            <a:off x="383507" y="471858"/>
            <a:ext cx="3600000" cy="170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Graphik" panose="020B0503030202060203" pitchFamily="34" charset="0"/>
              </a:rPr>
              <a:t>Implementatieplan</a:t>
            </a:r>
            <a:endParaRPr kumimoji="0" lang="nl-NL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69" name="Text Placeholder 3">
            <a:extLst>
              <a:ext uri="{FF2B5EF4-FFF2-40B4-BE49-F238E27FC236}">
                <a16:creationId xmlns:a16="http://schemas.microsoft.com/office/drawing/2014/main" id="{F2D1DEBD-28ED-4D6F-B4B2-F1EBCC754FDB}"/>
              </a:ext>
            </a:extLst>
          </p:cNvPr>
          <p:cNvSpPr txBox="1">
            <a:spLocks/>
          </p:cNvSpPr>
          <p:nvPr/>
        </p:nvSpPr>
        <p:spPr>
          <a:xfrm>
            <a:off x="383507" y="301617"/>
            <a:ext cx="3600000" cy="170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nl-NL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Graphik Bold" panose="020B0803030202060203" pitchFamily="34" charset="0"/>
              </a:rPr>
              <a:t>AANPAK OP MAA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95FA336-5102-4615-9F7D-FB5B62400938}"/>
              </a:ext>
            </a:extLst>
          </p:cNvPr>
          <p:cNvSpPr/>
          <p:nvPr/>
        </p:nvSpPr>
        <p:spPr>
          <a:xfrm>
            <a:off x="-576140" y="1144657"/>
            <a:ext cx="392816" cy="234350"/>
          </a:xfrm>
          <a:prstGeom prst="rect">
            <a:avLst/>
          </a:prstGeom>
          <a:solidFill>
            <a:srgbClr val="44546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591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49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graphicFrame>
        <p:nvGraphicFramePr>
          <p:cNvPr id="3" name="Tabel 2">
            <a:extLst>
              <a:ext uri="{FF2B5EF4-FFF2-40B4-BE49-F238E27FC236}">
                <a16:creationId xmlns:a16="http://schemas.microsoft.com/office/drawing/2014/main" id="{B40CA700-FB1D-49AA-8E6F-78C269419B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4198170"/>
              </p:ext>
            </p:extLst>
          </p:nvPr>
        </p:nvGraphicFramePr>
        <p:xfrm>
          <a:off x="434109" y="1207740"/>
          <a:ext cx="11110189" cy="47167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1721">
                  <a:extLst>
                    <a:ext uri="{9D8B030D-6E8A-4147-A177-3AD203B41FA5}">
                      <a16:colId xmlns:a16="http://schemas.microsoft.com/office/drawing/2014/main" val="875166088"/>
                    </a:ext>
                  </a:extLst>
                </a:gridCol>
                <a:gridCol w="2816156">
                  <a:extLst>
                    <a:ext uri="{9D8B030D-6E8A-4147-A177-3AD203B41FA5}">
                      <a16:colId xmlns:a16="http://schemas.microsoft.com/office/drawing/2014/main" val="3493544988"/>
                    </a:ext>
                  </a:extLst>
                </a:gridCol>
                <a:gridCol w="2816156">
                  <a:extLst>
                    <a:ext uri="{9D8B030D-6E8A-4147-A177-3AD203B41FA5}">
                      <a16:colId xmlns:a16="http://schemas.microsoft.com/office/drawing/2014/main" val="637724973"/>
                    </a:ext>
                  </a:extLst>
                </a:gridCol>
                <a:gridCol w="2816156">
                  <a:extLst>
                    <a:ext uri="{9D8B030D-6E8A-4147-A177-3AD203B41FA5}">
                      <a16:colId xmlns:a16="http://schemas.microsoft.com/office/drawing/2014/main" val="1271590937"/>
                    </a:ext>
                  </a:extLst>
                </a:gridCol>
              </a:tblGrid>
              <a:tr h="469891">
                <a:tc>
                  <a:txBody>
                    <a:bodyPr/>
                    <a:lstStyle/>
                    <a:p>
                      <a:r>
                        <a:rPr lang="nl-NL"/>
                        <a:t>Wijziging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/>
                        <a:t>Actiepunt(en)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/>
                        <a:t>Betrokkene(n)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/>
                        <a:t>Deadline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6432984"/>
                  </a:ext>
                </a:extLst>
              </a:tr>
              <a:tr h="46989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100" i="1" dirty="0">
                          <a:solidFill>
                            <a:schemeClr val="tx1"/>
                          </a:solidFill>
                          <a:latin typeface="+mn-lt"/>
                        </a:rPr>
                        <a:t>Aanvraagformulier als leidraad voor informatieverzameling</a:t>
                      </a:r>
                    </a:p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Werkconsulenten informeren over hoe ze het aanvraagformulier moeten gebruiken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Aanvraagformulier ondersteunen in ICT systemen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Dagobert Duck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Kwik en Kwe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25-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0383593"/>
                  </a:ext>
                </a:extLst>
              </a:tr>
              <a:tr h="469891">
                <a:tc>
                  <a:txBody>
                    <a:bodyPr/>
                    <a:lstStyle/>
                    <a:p>
                      <a:r>
                        <a:rPr lang="nl-NL" sz="1100" dirty="0"/>
                        <a:t>Opnemen schriftelijke communicatie medewerkers in het werkpro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Nieuw proces opnemen in handboek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Werkinstructie maken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Donald Duck,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Kwik en Kwa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25-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7443798"/>
                  </a:ext>
                </a:extLst>
              </a:tr>
              <a:tr h="469891">
                <a:tc>
                  <a:txBody>
                    <a:bodyPr/>
                    <a:lstStyle/>
                    <a:p>
                      <a:r>
                        <a:rPr lang="nl-NL" sz="1100" i="1" dirty="0"/>
                        <a:t>Rappelleren opnemen in het werkpro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Nieuw proces opnemen in handboek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Werkinstructies mak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Donald Duck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Kwa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25-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1589571"/>
                  </a:ext>
                </a:extLst>
              </a:tr>
              <a:tr h="469891">
                <a:tc>
                  <a:txBody>
                    <a:bodyPr/>
                    <a:lstStyle/>
                    <a:p>
                      <a:r>
                        <a:rPr lang="nl-NL" sz="1100" i="1" dirty="0"/>
                        <a:t>Formaliseren signaleringsmo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Nieuw werkproces opnemen in handboek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Werkinstructies make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Functie aanzetten in ICT systee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Kwik, Kwek en Kwa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25-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3478084"/>
                  </a:ext>
                </a:extLst>
              </a:tr>
              <a:tr h="471264">
                <a:tc>
                  <a:txBody>
                    <a:bodyPr/>
                    <a:lstStyle/>
                    <a:p>
                      <a:r>
                        <a:rPr lang="nl-NL" sz="1100" i="1" dirty="0"/>
                        <a:t>Implementatie </a:t>
                      </a:r>
                      <a:r>
                        <a:rPr lang="nl-NL" sz="1100" i="1"/>
                        <a:t>inhoud communicatie-set</a:t>
                      </a:r>
                      <a:endParaRPr lang="nl-NL" sz="11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Look en feel communicatiemateriaal aanpassen aan eigen huisstijl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Communicatiemateriaal ophangen in ICT systeem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Katrien Duck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Kwe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25-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8076285"/>
                  </a:ext>
                </a:extLst>
              </a:tr>
              <a:tr h="469891">
                <a:tc>
                  <a:txBody>
                    <a:bodyPr/>
                    <a:lstStyle/>
                    <a:p>
                      <a:r>
                        <a:rPr lang="nl-NL" sz="1100" i="1" dirty="0"/>
                        <a:t>Organiseren Kick-off en Evaluatie sess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Voorbereiden presentati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Uitnodigen deelnemer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Notulen en afspraken vastlegg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Donald Duck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l-NL" sz="1100" dirty="0"/>
                        <a:t>Katrien Du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28-5 (kick off)</a:t>
                      </a:r>
                    </a:p>
                    <a:p>
                      <a:r>
                        <a:rPr lang="nl-NL" sz="1100" dirty="0"/>
                        <a:t>25-7 (evaluati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300020"/>
                  </a:ext>
                </a:extLst>
              </a:tr>
              <a:tr h="469891"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9578954"/>
                  </a:ext>
                </a:extLst>
              </a:tr>
            </a:tbl>
          </a:graphicData>
        </a:graphic>
      </p:graphicFrame>
      <p:sp>
        <p:nvSpPr>
          <p:cNvPr id="14" name="Tekstvak 13">
            <a:extLst>
              <a:ext uri="{FF2B5EF4-FFF2-40B4-BE49-F238E27FC236}">
                <a16:creationId xmlns:a16="http://schemas.microsoft.com/office/drawing/2014/main" id="{8B6B6C5B-B44A-4957-A4F8-C282CE85E4DA}"/>
              </a:ext>
            </a:extLst>
          </p:cNvPr>
          <p:cNvSpPr txBox="1"/>
          <p:nvPr/>
        </p:nvSpPr>
        <p:spPr>
          <a:xfrm>
            <a:off x="9578108" y="301617"/>
            <a:ext cx="1884218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nl-NL" dirty="0"/>
              <a:t>Fictief voorbeeld</a:t>
            </a:r>
          </a:p>
        </p:txBody>
      </p:sp>
    </p:spTree>
    <p:extLst>
      <p:ext uri="{BB962C8B-B14F-4D97-AF65-F5344CB8AC3E}">
        <p14:creationId xmlns:p14="http://schemas.microsoft.com/office/powerpoint/2010/main" val="23805834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STAMP" val="0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 Layouts">
  <a:themeElements>
    <a:clrScheme name="_FORM_ 2">
      <a:dk1>
        <a:srgbClr val="000000"/>
      </a:dk1>
      <a:lt1>
        <a:srgbClr val="FFFFFF"/>
      </a:lt1>
      <a:dk2>
        <a:srgbClr val="595959"/>
      </a:dk2>
      <a:lt2>
        <a:srgbClr val="D8D8D8"/>
      </a:lt2>
      <a:accent1>
        <a:srgbClr val="A100FF"/>
      </a:accent1>
      <a:accent2>
        <a:srgbClr val="00F3FF"/>
      </a:accent2>
      <a:accent3>
        <a:srgbClr val="000088"/>
      </a:accent3>
      <a:accent4>
        <a:srgbClr val="008EFF"/>
      </a:accent4>
      <a:accent5>
        <a:srgbClr val="00FF00"/>
      </a:accent5>
      <a:accent6>
        <a:srgbClr val="DB0F6B"/>
      </a:accent6>
      <a:hlink>
        <a:srgbClr val="A100FF"/>
      </a:hlink>
      <a:folHlink>
        <a:srgbClr val="A100FF"/>
      </a:folHlink>
    </a:clrScheme>
    <a:fontScheme name="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Form PPT template" id="{1CECE357-1FDA-4CCA-B942-E04036053207}" vid="{5B6FAA41-4624-425E-ADF5-9700145BF89F}"/>
    </a:ext>
  </a:extLst>
</a:theme>
</file>

<file path=ppt/theme/theme2.xml><?xml version="1.0" encoding="utf-8"?>
<a:theme xmlns:a="http://schemas.openxmlformats.org/drawingml/2006/main" name="Custom Design">
  <a:themeElements>
    <a:clrScheme name="Custom 3">
      <a:dk1>
        <a:srgbClr val="FFFFFF"/>
      </a:dk1>
      <a:lt1>
        <a:srgbClr val="415464"/>
      </a:lt1>
      <a:dk2>
        <a:srgbClr val="A61D20"/>
      </a:dk2>
      <a:lt2>
        <a:srgbClr val="0A4D80"/>
      </a:lt2>
      <a:accent1>
        <a:srgbClr val="92D050"/>
      </a:accent1>
      <a:accent2>
        <a:srgbClr val="7EBCE1"/>
      </a:accent2>
      <a:accent3>
        <a:srgbClr val="927865"/>
      </a:accent3>
      <a:accent4>
        <a:srgbClr val="D15F27"/>
      </a:accent4>
      <a:accent5>
        <a:srgbClr val="D10023"/>
      </a:accent5>
      <a:accent6>
        <a:srgbClr val="E8A123"/>
      </a:accent6>
      <a:hlink>
        <a:srgbClr val="0A4D80"/>
      </a:hlink>
      <a:folHlink>
        <a:srgbClr val="A61D20"/>
      </a:folHlink>
    </a:clrScheme>
    <a:fontScheme name="Standard Fidelity New Style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lumMod val="60000"/>
            <a:lumOff val="40000"/>
          </a:schemeClr>
        </a:solidFill>
        <a:ln>
          <a:noFill/>
        </a:ln>
        <a:effectLst/>
      </a:spPr>
      <a:bodyPr wrap="none" lIns="0" tIns="0" rIns="216000" bIns="0" rtlCol="0" anchor="ctr"/>
      <a:lstStyle>
        <a:defPPr algn="r">
          <a:defRPr sz="400" dirty="0">
            <a:solidFill>
              <a:srgbClr val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McD color sc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31737"/>
      </a:accent1>
      <a:accent2>
        <a:srgbClr val="FFC427"/>
      </a:accent2>
      <a:accent3>
        <a:srgbClr val="B4D78E"/>
      </a:accent3>
      <a:accent4>
        <a:srgbClr val="749CD3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5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icrosoft_Balanced_Scorecard.pptx" id="{10ED7897-4190-42E8-9E5A-9BA30033AB56}" vid="{5E997269-9069-4613-A476-408DDBC8C503}"/>
    </a:ext>
  </a:extLst>
</a:theme>
</file>

<file path=ppt/theme/theme5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43</Words>
  <Application>Microsoft Office PowerPoint</Application>
  <PresentationFormat>Breedbeeld</PresentationFormat>
  <Paragraphs>136</Paragraphs>
  <Slides>5</Slides>
  <Notes>5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7</vt:i4>
      </vt:variant>
      <vt:variant>
        <vt:lpstr>Thema</vt:lpstr>
      </vt:variant>
      <vt:variant>
        <vt:i4>4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5</vt:i4>
      </vt:variant>
    </vt:vector>
  </HeadingPairs>
  <TitlesOfParts>
    <vt:vector size="17" baseType="lpstr">
      <vt:lpstr>Arial</vt:lpstr>
      <vt:lpstr>Arial Black</vt:lpstr>
      <vt:lpstr>Calibri</vt:lpstr>
      <vt:lpstr>Calibri Light</vt:lpstr>
      <vt:lpstr>Century Gothic</vt:lpstr>
      <vt:lpstr>Graphik</vt:lpstr>
      <vt:lpstr>Graphik Bold</vt:lpstr>
      <vt:lpstr>Content Layouts</vt:lpstr>
      <vt:lpstr>Custom Design</vt:lpstr>
      <vt:lpstr>1_Custom Design</vt:lpstr>
      <vt:lpstr>1_Office Theme</vt:lpstr>
      <vt:lpstr>think-cell Slid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3-05-17T15:33:36Z</dcterms:created>
  <dcterms:modified xsi:type="dcterms:W3CDTF">2023-05-17T15:33:45Z</dcterms:modified>
</cp:coreProperties>
</file>